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1" r:id="rId1"/>
  </p:sldMasterIdLst>
  <p:notesMasterIdLst>
    <p:notesMasterId r:id="rId8"/>
  </p:notesMasterIdLst>
  <p:handoutMasterIdLst>
    <p:handoutMasterId r:id="rId9"/>
  </p:handoutMasterIdLst>
  <p:sldIdLst>
    <p:sldId id="297" r:id="rId2"/>
    <p:sldId id="328" r:id="rId3"/>
    <p:sldId id="329" r:id="rId4"/>
    <p:sldId id="333" r:id="rId5"/>
    <p:sldId id="332" r:id="rId6"/>
    <p:sldId id="334" r:id="rId7"/>
  </p:sldIdLst>
  <p:sldSz cx="9144000" cy="6858000" type="screen4x3"/>
  <p:notesSz cx="6805613" cy="9939338"/>
  <p:custDataLst>
    <p:tags r:id="rId1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7">
          <p15:clr>
            <a:srgbClr val="A4A3A4"/>
          </p15:clr>
        </p15:guide>
        <p15:guide id="2" orient="horz" pos="4110">
          <p15:clr>
            <a:srgbClr val="A4A3A4"/>
          </p15:clr>
        </p15:guide>
        <p15:guide id="3" orient="horz" pos="226">
          <p15:clr>
            <a:srgbClr val="A4A3A4"/>
          </p15:clr>
        </p15:guide>
        <p15:guide id="4" orient="horz" pos="3952">
          <p15:clr>
            <a:srgbClr val="A4A3A4"/>
          </p15:clr>
        </p15:guide>
        <p15:guide id="5" orient="horz" pos="3203">
          <p15:clr>
            <a:srgbClr val="A4A3A4"/>
          </p15:clr>
        </p15:guide>
        <p15:guide id="6" orient="horz" pos="2614">
          <p15:clr>
            <a:srgbClr val="A4A3A4"/>
          </p15:clr>
        </p15:guide>
        <p15:guide id="7" orient="horz" pos="3430">
          <p15:clr>
            <a:srgbClr val="A4A3A4"/>
          </p15:clr>
        </p15:guide>
        <p15:guide id="8" orient="horz" pos="3113">
          <p15:clr>
            <a:srgbClr val="A4A3A4"/>
          </p15:clr>
        </p15:guide>
        <p15:guide id="9" pos="226">
          <p15:clr>
            <a:srgbClr val="A4A3A4"/>
          </p15:clr>
        </p15:guide>
        <p15:guide id="10" pos="5533">
          <p15:clr>
            <a:srgbClr val="A4A3A4"/>
          </p15:clr>
        </p15:guide>
        <p15:guide id="11" pos="2880">
          <p15:clr>
            <a:srgbClr val="A4A3A4"/>
          </p15:clr>
        </p15:guide>
        <p15:guide id="12" pos="2982">
          <p15:clr>
            <a:srgbClr val="A4A3A4"/>
          </p15:clr>
        </p15:guide>
        <p15:guide id="13" pos="2777">
          <p15:clr>
            <a:srgbClr val="A4A3A4"/>
          </p15:clr>
        </p15:guide>
        <p15:guide id="14" pos="370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5325"/>
    <a:srgbClr val="ED7013"/>
    <a:srgbClr val="F8AB6C"/>
    <a:srgbClr val="F2FB9B"/>
    <a:srgbClr val="FFCCCC"/>
    <a:srgbClr val="4AE420"/>
    <a:srgbClr val="95B63D"/>
    <a:srgbClr val="F95DD8"/>
    <a:srgbClr val="FF6699"/>
    <a:srgbClr val="7D88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A111915-BE36-4E01-A7E5-04B1672EAD3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D5ABB26-0587-4C30-8999-92F81FD0307C}" styleName="Keine Formatvorlage, kein Gitternetz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淡色スタイル 2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9C7853C-536D-4A76-A0AE-DD22124D55A5}" styleName="テーマ スタイル 1 - アクセント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EB344D84-9AFB-497E-A393-DC336BA19D2E}" styleName="中間スタイル 3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7292A2E-F333-43FB-9621-5CBBE7FDCDCB}" styleName="淡色スタイル 2 - アクセント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354" autoAdjust="0"/>
    <p:restoredTop sz="98969" autoAdjust="0"/>
  </p:normalViewPr>
  <p:slideViewPr>
    <p:cSldViewPr snapToObjects="1">
      <p:cViewPr varScale="1">
        <p:scale>
          <a:sx n="76" d="100"/>
          <a:sy n="76" d="100"/>
        </p:scale>
        <p:origin x="1044" y="84"/>
      </p:cViewPr>
      <p:guideLst>
        <p:guide orient="horz" pos="2387"/>
        <p:guide orient="horz" pos="4110"/>
        <p:guide orient="horz" pos="226"/>
        <p:guide orient="horz" pos="3952"/>
        <p:guide orient="horz" pos="3203"/>
        <p:guide orient="horz" pos="2614"/>
        <p:guide orient="horz" pos="3430"/>
        <p:guide orient="horz" pos="3113"/>
        <p:guide pos="226"/>
        <p:guide pos="5533"/>
        <p:guide pos="2880"/>
        <p:guide pos="2982"/>
        <p:guide pos="2777"/>
        <p:guide pos="3709"/>
      </p:guideLst>
    </p:cSldViewPr>
  </p:slideViewPr>
  <p:outlineViewPr>
    <p:cViewPr>
      <p:scale>
        <a:sx n="33" d="100"/>
        <a:sy n="33" d="100"/>
      </p:scale>
      <p:origin x="0" y="448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altLang="ja-JP"/>
          </a:p>
        </p:txBody>
      </p:sp>
      <p:sp>
        <p:nvSpPr>
          <p:cNvPr id="952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445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30B8D899-AACA-4799-91FA-16DF82B9327B}" type="datetimeFigureOut">
              <a:rPr lang="ja-JP" altLang="en-US"/>
              <a:pPr/>
              <a:t>2015/1/6</a:t>
            </a:fld>
            <a:endParaRPr lang="en-US" altLang="ja-JP"/>
          </a:p>
        </p:txBody>
      </p:sp>
      <p:sp>
        <p:nvSpPr>
          <p:cNvPr id="952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altLang="ja-JP"/>
          </a:p>
        </p:txBody>
      </p:sp>
      <p:sp>
        <p:nvSpPr>
          <p:cNvPr id="952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445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E407F6D3-7A52-4F84-BFF5-67021D9BDF13}" type="slidenum">
              <a:rPr lang="ja-JP" altLang="en-US"/>
              <a:pPr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2722202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 dirty="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5D19C790-A4C4-4789-A1D3-7E391BD2A72A}" type="datetimeFigureOut">
              <a:rPr lang="de-DE"/>
              <a:pPr>
                <a:defRPr/>
              </a:pPr>
              <a:t>06.01.201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7288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1038" y="4721225"/>
            <a:ext cx="5443537" cy="44719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altLang="ja-JP" smtClean="0"/>
              <a:t>Textmasterformate durch Klicken bearbeiten</a:t>
            </a:r>
          </a:p>
          <a:p>
            <a:pPr lvl="1"/>
            <a:r>
              <a:rPr lang="de-DE" altLang="ja-JP" smtClean="0"/>
              <a:t>Zweite Ebene</a:t>
            </a:r>
          </a:p>
          <a:p>
            <a:pPr lvl="2"/>
            <a:r>
              <a:rPr lang="de-DE" altLang="ja-JP" smtClean="0"/>
              <a:t>Dritte Ebene</a:t>
            </a:r>
          </a:p>
          <a:p>
            <a:pPr lvl="3"/>
            <a:r>
              <a:rPr lang="de-DE" altLang="ja-JP" smtClean="0"/>
              <a:t>Vierte Ebene</a:t>
            </a:r>
          </a:p>
          <a:p>
            <a:pPr lvl="4"/>
            <a:r>
              <a:rPr lang="de-DE" altLang="ja-JP" smtClean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 dirty="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445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 smtClean="0">
                <a:latin typeface="+mn-lt"/>
                <a:ea typeface="+mn-ea"/>
              </a:defRPr>
            </a:lvl1pPr>
          </a:lstStyle>
          <a:p>
            <a:pPr>
              <a:defRPr/>
            </a:pPr>
            <a:fld id="{B92A608E-61A6-4076-8343-6D961E4E47E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425796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ＭＳ Ｐ明朝" pitchFamily="18" charset="-128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ＭＳ Ｐ明朝" pitchFamily="18" charset="-128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ＭＳ Ｐ明朝" pitchFamily="18" charset="-128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ＭＳ Ｐ明朝" pitchFamily="18" charset="-128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ＭＳ Ｐ明朝" pitchFamily="18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スライド イメージ プレースホル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7" name="ノート プレースホルダ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ja-JP" altLang="en-US" smtClean="0">
              <a:latin typeface="SimHei" pitchFamily="49" charset="-122"/>
              <a:ea typeface="ＭＳ Ｐ明朝" charset="-128"/>
            </a:endParaRPr>
          </a:p>
        </p:txBody>
      </p:sp>
      <p:sp>
        <p:nvSpPr>
          <p:cNvPr id="31748" name="スライド番号プレースホルダ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2692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1pPr>
            <a:lvl2pPr marL="743767" indent="-286064" defTabSz="902692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2pPr>
            <a:lvl3pPr marL="1144257" indent="-228851" defTabSz="902692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3pPr>
            <a:lvl4pPr marL="1601960" indent="-228851" defTabSz="902692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4pPr>
            <a:lvl5pPr marL="2059663" indent="-228851" defTabSz="902692" eaLnBrk="0" hangingPunct="0"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5pPr>
            <a:lvl6pPr marL="2517366" indent="-228851" defTabSz="902692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6pPr>
            <a:lvl7pPr marL="2975069" indent="-228851" defTabSz="902692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7pPr>
            <a:lvl8pPr marL="3432772" indent="-228851" defTabSz="902692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8pPr>
            <a:lvl9pPr marL="3890475" indent="-228851" defTabSz="902692" eaLnBrk="0" fontAlgn="base" hangingPunct="0">
              <a:spcBef>
                <a:spcPct val="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ＭＳ Ｐゴシック" charset="-128"/>
                <a:ea typeface="ＭＳ Ｐゴシック" charset="-128"/>
              </a:defRPr>
            </a:lvl9pPr>
          </a:lstStyle>
          <a:p>
            <a:pPr eaLnBrk="1" hangingPunct="1"/>
            <a:fld id="{155DB4EB-1EFE-4E17-BBB8-544C6A17599F}" type="slidenum">
              <a:rPr kumimoji="0" lang="zh-CN" altLang="en-US" sz="1400">
                <a:latin typeface="SimHei" pitchFamily="49" charset="-122"/>
                <a:ea typeface="SimHei" pitchFamily="49" charset="-122"/>
              </a:rPr>
              <a:pPr eaLnBrk="1" hangingPunct="1"/>
              <a:t>1</a:t>
            </a:fld>
            <a:endParaRPr kumimoji="0" lang="en-US" altLang="zh-CN" sz="1400">
              <a:latin typeface="SimHei" pitchFamily="49" charset="-122"/>
              <a:ea typeface="SimHei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88517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"/>
          <p:cNvSpPr>
            <a:spLocks noChangeShapeType="1"/>
          </p:cNvSpPr>
          <p:nvPr/>
        </p:nvSpPr>
        <p:spPr bwMode="auto">
          <a:xfrm>
            <a:off x="228600" y="3124200"/>
            <a:ext cx="8686800" cy="0"/>
          </a:xfrm>
          <a:prstGeom prst="line">
            <a:avLst/>
          </a:prstGeom>
          <a:noFill/>
          <a:ln w="28575">
            <a:solidFill>
              <a:schemeClr val="accent6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ja-JP" altLang="en-US">
              <a:latin typeface="ＭＳ Ｐゴシック" pitchFamily="50" charset="-128"/>
              <a:ea typeface="ＭＳ Ｐゴシック" pitchFamily="50" charset="-128"/>
            </a:endParaRP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2337148"/>
            <a:ext cx="7772400" cy="1143000"/>
          </a:xfrm>
        </p:spPr>
        <p:txBody>
          <a:bodyPr/>
          <a:lstStyle>
            <a:lvl1pPr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50825" y="3141666"/>
            <a:ext cx="6400800" cy="719137"/>
          </a:xfrm>
        </p:spPr>
        <p:txBody>
          <a:bodyPr/>
          <a:lstStyle>
            <a:lvl1pPr marL="0" indent="0">
              <a:spcBef>
                <a:spcPct val="0"/>
              </a:spcBef>
              <a:buNone/>
              <a:defRPr sz="1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ja-JP" altLang="en-US" smtClean="0"/>
              <a:t>マスター サブタイトルの書式設定</a:t>
            </a:r>
            <a:endParaRPr lang="ja-JP" altLang="en-US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750CA12-D87E-4E29-A36B-78DBC48CD5C3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0854886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 dirty="0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600">
                <a:latin typeface="+mn-ea"/>
                <a:ea typeface="+mn-ea"/>
                <a:cs typeface="Arial" pitchFamily="34" charset="0"/>
              </a:defRPr>
            </a:lvl1pPr>
            <a:lvl2pPr>
              <a:defRPr sz="1400">
                <a:latin typeface="+mn-ea"/>
                <a:ea typeface="+mn-ea"/>
                <a:cs typeface="Arial" pitchFamily="34" charset="0"/>
              </a:defRPr>
            </a:lvl2pPr>
            <a:lvl3pPr>
              <a:defRPr sz="1400">
                <a:latin typeface="+mn-ea"/>
                <a:ea typeface="+mn-ea"/>
                <a:cs typeface="Arial" pitchFamily="34" charset="0"/>
              </a:defRPr>
            </a:lvl3pPr>
            <a:lvl4pPr>
              <a:defRPr sz="1400">
                <a:latin typeface="+mn-ea"/>
                <a:ea typeface="+mn-ea"/>
                <a:cs typeface="Arial" pitchFamily="34" charset="0"/>
              </a:defRPr>
            </a:lvl4pPr>
            <a:lvl5pPr>
              <a:defRPr sz="1400">
                <a:latin typeface="+mn-ea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288D04-6416-416C-8DAF-389DC9E646DA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033608794"/>
      </p:ext>
    </p:extLst>
  </p:cSld>
  <p:clrMapOvr>
    <a:masterClrMapping/>
  </p:clrMapOvr>
  <p:transition>
    <p:cut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400" y="152401"/>
            <a:ext cx="8610600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916" tIns="43958" rIns="87916" bIns="4395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ー タイトルの書式設定</a:t>
            </a:r>
          </a:p>
        </p:txBody>
      </p:sp>
      <p:sp>
        <p:nvSpPr>
          <p:cNvPr id="3076" name="Line 4"/>
          <p:cNvSpPr>
            <a:spLocks noChangeShapeType="1"/>
          </p:cNvSpPr>
          <p:nvPr/>
        </p:nvSpPr>
        <p:spPr bwMode="auto">
          <a:xfrm flipH="1">
            <a:off x="184638" y="6550025"/>
            <a:ext cx="8688266" cy="0"/>
          </a:xfrm>
          <a:prstGeom prst="line">
            <a:avLst/>
          </a:prstGeom>
          <a:noFill/>
          <a:ln w="28575">
            <a:solidFill>
              <a:schemeClr val="tx1">
                <a:lumMod val="95000"/>
                <a:lumOff val="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ja-JP" altLang="en-US">
              <a:latin typeface="ＭＳ Ｐゴシック" pitchFamily="50" charset="-128"/>
              <a:ea typeface="ＭＳ Ｐゴシック" pitchFamily="50" charset="-128"/>
            </a:endParaRPr>
          </a:p>
        </p:txBody>
      </p:sp>
      <p:sp>
        <p:nvSpPr>
          <p:cNvPr id="1028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84639" y="692151"/>
            <a:ext cx="8642838" cy="202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80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3381" y="6453188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kumimoji="0" smtClean="0">
                <a:latin typeface="Arial" pitchFamily="34" charset="0"/>
                <a:ea typeface="MS UI Gothic" pitchFamily="50" charset="-128"/>
                <a:cs typeface="Arial" pitchFamily="34" charset="0"/>
              </a:defRPr>
            </a:lvl1pPr>
          </a:lstStyle>
          <a:p>
            <a:fld id="{468A2321-9C63-42F6-8E8B-B7AE2DFEC69C}" type="slidenum">
              <a:rPr lang="ja-JP" altLang="en-US" smtClean="0"/>
              <a:pPr/>
              <a:t>‹#›</a:t>
            </a:fld>
            <a:endParaRPr lang="en-US" altLang="ja-JP"/>
          </a:p>
        </p:txBody>
      </p:sp>
      <p:sp>
        <p:nvSpPr>
          <p:cNvPr id="10" name="Line 4"/>
          <p:cNvSpPr>
            <a:spLocks noChangeShapeType="1"/>
          </p:cNvSpPr>
          <p:nvPr/>
        </p:nvSpPr>
        <p:spPr bwMode="auto">
          <a:xfrm flipH="1">
            <a:off x="184638" y="531813"/>
            <a:ext cx="8688266" cy="0"/>
          </a:xfrm>
          <a:prstGeom prst="line">
            <a:avLst/>
          </a:prstGeom>
          <a:noFill/>
          <a:ln w="28575">
            <a:solidFill>
              <a:schemeClr val="tx1">
                <a:lumMod val="95000"/>
                <a:lumOff val="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ja-JP" altLang="en-US">
              <a:latin typeface="ＭＳ Ｐゴシック" pitchFamily="50" charset="-128"/>
              <a:ea typeface="ＭＳ Ｐゴシック" pitchFamily="50" charset="-128"/>
            </a:endParaRPr>
          </a:p>
        </p:txBody>
      </p:sp>
      <p:pic>
        <p:nvPicPr>
          <p:cNvPr id="1031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616" y="6572250"/>
            <a:ext cx="1736481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40352" y="135408"/>
            <a:ext cx="1127645" cy="347959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Arial" pitchFamily="34" charset="0"/>
          <a:ea typeface="メイリオ" pitchFamily="50" charset="-128"/>
          <a:cs typeface="Arial" pitchFamily="34" charset="0"/>
        </a:defRPr>
      </a:lvl1pPr>
      <a:lvl2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Arial" charset="0"/>
          <a:ea typeface="メイリオ" pitchFamily="50" charset="-128"/>
          <a:cs typeface="Arial" charset="0"/>
        </a:defRPr>
      </a:lvl2pPr>
      <a:lvl3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Arial" charset="0"/>
          <a:ea typeface="メイリオ" pitchFamily="50" charset="-128"/>
          <a:cs typeface="Arial" charset="0"/>
        </a:defRPr>
      </a:lvl3pPr>
      <a:lvl4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Arial" charset="0"/>
          <a:ea typeface="メイリオ" pitchFamily="50" charset="-128"/>
          <a:cs typeface="Arial" charset="0"/>
        </a:defRPr>
      </a:lvl4pPr>
      <a:lvl5pPr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Arial" charset="0"/>
          <a:ea typeface="メイリオ" pitchFamily="50" charset="-128"/>
          <a:cs typeface="Arial" charset="0"/>
        </a:defRPr>
      </a:lvl5pPr>
      <a:lvl6pPr marL="4572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6pPr>
      <a:lvl7pPr marL="9144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7pPr>
      <a:lvl8pPr marL="13716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8pPr>
      <a:lvl9pPr marL="1828800" algn="l" defTabSz="879475" rtl="0" eaLnBrk="1" fontAlgn="base" hangingPunct="1">
        <a:spcBef>
          <a:spcPct val="0"/>
        </a:spcBef>
        <a:spcAft>
          <a:spcPct val="0"/>
        </a:spcAft>
        <a:defRPr kumimoji="1" b="1">
          <a:solidFill>
            <a:srgbClr val="003399"/>
          </a:solidFill>
          <a:latin typeface="MS UI Gothic" pitchFamily="50" charset="-128"/>
          <a:ea typeface="MS UI Gothic" pitchFamily="50" charset="-128"/>
        </a:defRPr>
      </a:lvl9pPr>
    </p:titleStyle>
    <p:bodyStyle>
      <a:lvl1pPr marL="265113" indent="-265113" algn="l" defTabSz="879475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kumimoji="1" sz="1600">
          <a:solidFill>
            <a:schemeClr val="tx1"/>
          </a:solidFill>
          <a:latin typeface="+mn-ea"/>
          <a:ea typeface="+mn-ea"/>
          <a:cs typeface="Arial" pitchFamily="34" charset="0"/>
        </a:defRPr>
      </a:lvl1pPr>
      <a:lvl2pPr marL="622300" indent="-177800" algn="l" defTabSz="879475" rtl="0" eaLnBrk="1" fontAlgn="base" hangingPunct="1">
        <a:spcBef>
          <a:spcPct val="20000"/>
        </a:spcBef>
        <a:spcAft>
          <a:spcPct val="0"/>
        </a:spcAft>
        <a:buChar char="–"/>
        <a:defRPr kumimoji="1" sz="1400">
          <a:solidFill>
            <a:schemeClr val="tx1"/>
          </a:solidFill>
          <a:latin typeface="+mn-ea"/>
          <a:ea typeface="+mn-ea"/>
          <a:cs typeface="Arial" pitchFamily="34" charset="0"/>
        </a:defRPr>
      </a:lvl2pPr>
      <a:lvl3pPr marL="981075" indent="-179388" algn="l" defTabSz="879475" rtl="0" eaLnBrk="1" fontAlgn="base" hangingPunct="1">
        <a:spcBef>
          <a:spcPct val="20000"/>
        </a:spcBef>
        <a:spcAft>
          <a:spcPct val="0"/>
        </a:spcAft>
        <a:buChar char="•"/>
        <a:defRPr kumimoji="1" sz="1400">
          <a:solidFill>
            <a:schemeClr val="tx1"/>
          </a:solidFill>
          <a:latin typeface="+mn-ea"/>
          <a:ea typeface="+mn-ea"/>
          <a:cs typeface="Arial" pitchFamily="34" charset="0"/>
        </a:defRPr>
      </a:lvl3pPr>
      <a:lvl4pPr marL="1338263" indent="-177800" algn="l" defTabSz="879475" rtl="0" eaLnBrk="1" fontAlgn="base" hangingPunct="1">
        <a:spcBef>
          <a:spcPct val="20000"/>
        </a:spcBef>
        <a:spcAft>
          <a:spcPct val="0"/>
        </a:spcAft>
        <a:buChar char="–"/>
        <a:defRPr kumimoji="1" sz="1400">
          <a:solidFill>
            <a:schemeClr val="tx1"/>
          </a:solidFill>
          <a:latin typeface="+mn-ea"/>
          <a:ea typeface="+mn-ea"/>
          <a:cs typeface="Arial" pitchFamily="34" charset="0"/>
        </a:defRPr>
      </a:lvl4pPr>
      <a:lvl5pPr marL="17097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ea"/>
          <a:ea typeface="+mn-ea"/>
          <a:cs typeface="Arial" pitchFamily="34" charset="0"/>
        </a:defRPr>
      </a:lvl5pPr>
      <a:lvl6pPr marL="21669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6pPr>
      <a:lvl7pPr marL="26241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7pPr>
      <a:lvl8pPr marL="30813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8pPr>
      <a:lvl9pPr marL="3538538" indent="-192088" algn="l" defTabSz="879475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1"/>
          <p:cNvSpPr txBox="1">
            <a:spLocks/>
          </p:cNvSpPr>
          <p:nvPr/>
        </p:nvSpPr>
        <p:spPr bwMode="auto">
          <a:xfrm>
            <a:off x="184639" y="2204864"/>
            <a:ext cx="7948246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916" tIns="43958" rIns="87916" bIns="43958" anchor="ctr"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Regional Leaders Meeting (RLM)</a:t>
            </a:r>
            <a:r>
              <a:rPr lang="ja-JP" altLang="en-US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の開催について／</a:t>
            </a:r>
            <a:r>
              <a:rPr lang="en-US" altLang="ja-JP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About the implementation of Regional Leaders Meeting (RLM)</a:t>
            </a:r>
          </a:p>
          <a:p>
            <a:pPr>
              <a:defRPr/>
            </a:pPr>
            <a:r>
              <a:rPr lang="en-US" altLang="ja-JP" kern="0" dirty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 </a:t>
            </a:r>
            <a:r>
              <a:rPr lang="en-US" altLang="ja-JP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                                          </a:t>
            </a:r>
            <a:r>
              <a:rPr lang="ja-JP" altLang="en-US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　</a:t>
            </a:r>
            <a:endParaRPr lang="en-US" altLang="ja-JP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9" name="タイトル 1"/>
          <p:cNvSpPr txBox="1">
            <a:spLocks/>
          </p:cNvSpPr>
          <p:nvPr/>
        </p:nvSpPr>
        <p:spPr bwMode="auto">
          <a:xfrm>
            <a:off x="1619672" y="6021389"/>
            <a:ext cx="8053705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916" tIns="43958" rIns="87916" bIns="43958" anchor="ctr"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sz="2000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sz="1800" kern="0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APU</a:t>
            </a:r>
            <a:r>
              <a:rPr lang="ja-JP" altLang="en-US" sz="1800" kern="0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校友会 ボードチーム／</a:t>
            </a:r>
            <a:r>
              <a:rPr lang="en-US" altLang="ja-JP" sz="1800" kern="0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APU</a:t>
            </a:r>
            <a:r>
              <a:rPr lang="ja-JP" altLang="en-US" sz="1800" kern="0" dirty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 </a:t>
            </a:r>
            <a:r>
              <a:rPr lang="en-US" altLang="ja-JP" sz="1800" kern="0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Alumni Association Board Team</a:t>
            </a:r>
            <a:endParaRPr lang="en-US" altLang="ja-JP" sz="1800" kern="0" dirty="0">
              <a:solidFill>
                <a:schemeClr val="accent6">
                  <a:lumMod val="50000"/>
                </a:schemeClr>
              </a:solidFill>
              <a:latin typeface="メイリオ" panose="020B0604030504040204" pitchFamily="50" charset="-128"/>
              <a:cs typeface="メイリオ" panose="020B0604030504040204" pitchFamily="50" charset="-128"/>
            </a:endParaRPr>
          </a:p>
          <a:p>
            <a:pPr>
              <a:defRPr/>
            </a:pPr>
            <a:r>
              <a:rPr lang="en-US" altLang="ja-JP" sz="1800" kern="0" dirty="0" smtClean="0">
                <a:solidFill>
                  <a:schemeClr val="accent6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2014</a:t>
            </a:r>
          </a:p>
        </p:txBody>
      </p:sp>
    </p:spTree>
    <p:extLst>
      <p:ext uri="{BB962C8B-B14F-4D97-AF65-F5344CB8AC3E}">
        <p14:creationId xmlns:p14="http://schemas.microsoft.com/office/powerpoint/2010/main" val="13818132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D795BD-7184-4BA0-BB4E-E84FF10BF4A2}" type="slidenum">
              <a:rPr lang="en-US" altLang="ja-JP" smtClean="0"/>
              <a:pPr>
                <a:defRPr/>
              </a:pPr>
              <a:t>2</a:t>
            </a:fld>
            <a:endParaRPr lang="en-US" altLang="ja-JP" dirty="0"/>
          </a:p>
        </p:txBody>
      </p:sp>
      <p:sp>
        <p:nvSpPr>
          <p:cNvPr id="5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1613" y="2405063"/>
            <a:ext cx="8607669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45713" rIns="0" bIns="45713" anchor="b"/>
          <a:lstStyle/>
          <a:p>
            <a:pPr>
              <a:defRPr/>
            </a:pPr>
            <a:endParaRPr lang="en-US" altLang="ja-JP" sz="1800" b="1" kern="0" dirty="0">
              <a:solidFill>
                <a:srgbClr val="00206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>
              <a:defRPr/>
            </a:pPr>
            <a:endParaRPr lang="en-US" altLang="ja-JP" sz="1800" b="1" kern="0" dirty="0">
              <a:solidFill>
                <a:srgbClr val="00206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6" name="タイトル 1"/>
          <p:cNvSpPr txBox="1">
            <a:spLocks/>
          </p:cNvSpPr>
          <p:nvPr/>
        </p:nvSpPr>
        <p:spPr>
          <a:xfrm>
            <a:off x="118697" y="115888"/>
            <a:ext cx="7948246" cy="379412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ja-JP" altLang="en-US" sz="2000" kern="0" dirty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開催</a:t>
            </a:r>
            <a:r>
              <a:rPr lang="ja-JP" altLang="en-US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の背景</a:t>
            </a:r>
            <a:r>
              <a:rPr lang="en-US" altLang="ja-JP" sz="2000" kern="0" dirty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 </a:t>
            </a:r>
            <a:r>
              <a:rPr lang="ja-JP" altLang="en-US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／ </a:t>
            </a: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Background</a:t>
            </a:r>
          </a:p>
          <a:p>
            <a:pPr>
              <a:defRPr/>
            </a:pPr>
            <a:endParaRPr lang="ja-JP" altLang="en-US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4101" name="正方形/長方形 6"/>
          <p:cNvSpPr>
            <a:spLocks noChangeArrowheads="1"/>
          </p:cNvSpPr>
          <p:nvPr/>
        </p:nvSpPr>
        <p:spPr bwMode="auto">
          <a:xfrm>
            <a:off x="259374" y="1389063"/>
            <a:ext cx="8765931" cy="507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ja-JP" sz="18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hapter Leaders Meeting</a:t>
            </a:r>
            <a:r>
              <a:rPr lang="en-US" altLang="ja-JP" sz="1800" dirty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(CLM)</a:t>
            </a:r>
            <a:r>
              <a:rPr lang="ja-JP" altLang="en-US" sz="1800" dirty="0" err="1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を開</a:t>
            </a:r>
            <a:r>
              <a:rPr lang="ja-JP" altLang="en-US" sz="18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催しましたが、</a:t>
            </a:r>
            <a:endParaRPr lang="en-US" altLang="ja-JP" sz="18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ja-JP" altLang="en-US" sz="18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チャプターの皆さんから下記のようなフィードバックをいただきました。</a:t>
            </a:r>
            <a:endParaRPr lang="en-US" altLang="ja-JP" sz="18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ja-JP" sz="18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ja-JP" altLang="en-US" sz="18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・大人数のため、議論がしにくかった</a:t>
            </a:r>
            <a:endParaRPr lang="en-US" altLang="ja-JP" sz="18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ja-JP" altLang="en-US" sz="18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・ボードとチャプターリーダーの議論ができる時間がなかった</a:t>
            </a:r>
            <a:endParaRPr lang="en-US" altLang="ja-JP" sz="18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ja-JP" sz="18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ja-JP" altLang="en-US" sz="18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上記の課題を解消するために、</a:t>
            </a:r>
            <a:r>
              <a:rPr lang="ja-JP" altLang="en-US" sz="1800" dirty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少数のチャプター代表者とボードの代表者で集まる会議</a:t>
            </a:r>
            <a:r>
              <a:rPr lang="en-US" altLang="ja-JP" sz="1800" dirty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/Regional Leaders Meeting</a:t>
            </a:r>
            <a:r>
              <a:rPr lang="ja-JP" altLang="en-US" sz="1800" dirty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（ＲＬＭ）</a:t>
            </a:r>
            <a:r>
              <a:rPr lang="ja-JP" altLang="en-US" sz="18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を開催したいと思います</a:t>
            </a:r>
            <a:r>
              <a:rPr lang="ja-JP" altLang="en-US" sz="18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。</a:t>
            </a:r>
            <a:endParaRPr lang="en-US" altLang="ja-JP" sz="18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ja-JP" sz="18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ja-JP" sz="18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During the Chapter Leaders Meeting (CLM) we have received some feedbacks from the Chapter members as below:</a:t>
            </a:r>
          </a:p>
          <a:p>
            <a:pPr marL="285750" indent="-285750" eaLnBrk="1" hangingPunct="1">
              <a:spcBef>
                <a:spcPct val="0"/>
              </a:spcBef>
              <a:buClrTx/>
            </a:pPr>
            <a:r>
              <a:rPr lang="en-US" altLang="ja-JP" sz="18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Due to the large number of meeting participants, it was difficult to give out opinions and arguments.</a:t>
            </a:r>
          </a:p>
          <a:p>
            <a:pPr marL="285750" indent="-285750" eaLnBrk="1" hangingPunct="1">
              <a:spcBef>
                <a:spcPct val="0"/>
              </a:spcBef>
              <a:buClrTx/>
            </a:pPr>
            <a:r>
              <a:rPr lang="en-US" altLang="ja-JP" sz="18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There was no time for the Board and Chapter </a:t>
            </a:r>
            <a:r>
              <a:rPr lang="en-US" altLang="ja-JP" sz="18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Leaders </a:t>
            </a:r>
            <a:r>
              <a:rPr lang="en-US" altLang="ja-JP" sz="18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to </a:t>
            </a:r>
            <a:r>
              <a:rPr lang="en-US" altLang="ja-JP" sz="18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have interactive discussions. </a:t>
            </a:r>
            <a:endParaRPr lang="en-US" altLang="ja-JP" sz="18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 eaLnBrk="1" hangingPunct="1">
              <a:spcBef>
                <a:spcPct val="0"/>
              </a:spcBef>
              <a:buClrTx/>
              <a:buNone/>
            </a:pPr>
            <a:r>
              <a:rPr lang="en-US" altLang="ja-JP" sz="18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As to solve the problems above, we came up with the idea of holding smaller meetings in which the </a:t>
            </a:r>
            <a:r>
              <a:rPr lang="en-US" altLang="ja-JP" sz="18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representatives </a:t>
            </a:r>
            <a:r>
              <a:rPr lang="en-US" altLang="ja-JP" sz="18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of </a:t>
            </a:r>
            <a:r>
              <a:rPr lang="en-US" altLang="ja-JP" sz="18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hapters </a:t>
            </a:r>
            <a:r>
              <a:rPr lang="en-US" altLang="ja-JP" sz="18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and Board would gather and discuss various topics.</a:t>
            </a:r>
            <a:endParaRPr lang="en-US" altLang="ja-JP" sz="18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8" name="正方形/長方形 7"/>
          <p:cNvSpPr/>
          <p:nvPr/>
        </p:nvSpPr>
        <p:spPr>
          <a:xfrm>
            <a:off x="184638" y="692150"/>
            <a:ext cx="8641374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ja-JP" altLang="en-US" sz="2000" b="1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・</a:t>
            </a:r>
            <a:r>
              <a:rPr lang="en-US" altLang="ja-JP" sz="2000" b="1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Regional Leaders Meeting </a:t>
            </a:r>
            <a:r>
              <a:rPr lang="ja-JP" altLang="en-US" sz="2000" b="1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開催の背景について説明します</a:t>
            </a:r>
            <a:r>
              <a:rPr lang="ja-JP" altLang="en-US" sz="20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。</a:t>
            </a:r>
            <a:endParaRPr lang="en-US" altLang="ja-JP" sz="2000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en-US" altLang="ja-JP" sz="20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We would like to explain about the reasons for holding RLM</a:t>
            </a:r>
            <a:r>
              <a:rPr lang="ja-JP" altLang="en-US" sz="2000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　　</a:t>
            </a:r>
            <a:endParaRPr lang="ja-JP" altLang="ja-JP" sz="2000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endParaRPr lang="en-US" altLang="ja-JP" sz="2000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34415707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DD2E12-AD93-4999-98FE-6DAAE3BEA850}" type="slidenum">
              <a:rPr lang="en-US" altLang="ja-JP" smtClean="0"/>
              <a:pPr>
                <a:defRPr/>
              </a:pPr>
              <a:t>3</a:t>
            </a:fld>
            <a:endParaRPr lang="en-US" altLang="ja-JP" dirty="0"/>
          </a:p>
        </p:txBody>
      </p:sp>
      <p:sp>
        <p:nvSpPr>
          <p:cNvPr id="6" name="タイトル 1"/>
          <p:cNvSpPr txBox="1">
            <a:spLocks/>
          </p:cNvSpPr>
          <p:nvPr/>
        </p:nvSpPr>
        <p:spPr>
          <a:xfrm>
            <a:off x="118697" y="115888"/>
            <a:ext cx="7948246" cy="379412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ja-JP" altLang="en-US" sz="2000" kern="0" dirty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会議</a:t>
            </a:r>
            <a:r>
              <a:rPr lang="ja-JP" altLang="en-US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概要（日本語）</a:t>
            </a:r>
            <a:endParaRPr lang="en-US" altLang="ja-JP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>
              <a:defRPr/>
            </a:pPr>
            <a:endParaRPr lang="ja-JP" altLang="en-US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8" name="正方形/長方形 7"/>
          <p:cNvSpPr/>
          <p:nvPr/>
        </p:nvSpPr>
        <p:spPr>
          <a:xfrm>
            <a:off x="184638" y="692150"/>
            <a:ext cx="8641374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ja-JP" altLang="en-US" sz="2000" b="1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・下記の概要で</a:t>
            </a:r>
            <a:r>
              <a:rPr lang="en-US" altLang="ja-JP" sz="2000" b="1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RLM</a:t>
            </a:r>
            <a:r>
              <a:rPr lang="ja-JP" altLang="en-US" sz="2000" b="1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を開催いたします。</a:t>
            </a:r>
            <a:r>
              <a:rPr lang="ja-JP" altLang="en-US" sz="2000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　　</a:t>
            </a:r>
            <a:endParaRPr lang="ja-JP" altLang="ja-JP" sz="2000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graphicFrame>
        <p:nvGraphicFramePr>
          <p:cNvPr id="10" name="表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2782591"/>
              </p:ext>
            </p:extLst>
          </p:nvPr>
        </p:nvGraphicFramePr>
        <p:xfrm>
          <a:off x="184639" y="1092201"/>
          <a:ext cx="8641374" cy="5415241"/>
        </p:xfrm>
        <a:graphic>
          <a:graphicData uri="http://schemas.openxmlformats.org/drawingml/2006/table">
            <a:tbl>
              <a:tblPr firstCol="1" bandRow="1">
                <a:tableStyleId>{21E4AEA4-8DFA-4A89-87EB-49C32662AFE0}</a:tableStyleId>
              </a:tblPr>
              <a:tblGrid>
                <a:gridCol w="1687768"/>
                <a:gridCol w="4185665"/>
                <a:gridCol w="2767941"/>
              </a:tblGrid>
              <a:tr h="457313">
                <a:tc>
                  <a:txBody>
                    <a:bodyPr/>
                    <a:lstStyle/>
                    <a:p>
                      <a:pPr algn="l"/>
                      <a:endParaRPr kumimoji="1" lang="ja-JP" altLang="en-US" sz="1400" dirty="0">
                        <a:latin typeface="メイリオ" pitchFamily="50" charset="-128"/>
                        <a:ea typeface="メイリオ" pitchFamily="50" charset="-128"/>
                      </a:endParaRPr>
                    </a:p>
                  </a:txBody>
                  <a:tcPr marL="126692" marR="126692" marT="68641" marB="68641"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b="1" dirty="0" smtClean="0">
                          <a:latin typeface="メイリオ" pitchFamily="50" charset="-128"/>
                          <a:ea typeface="メイリオ" pitchFamily="50" charset="-128"/>
                        </a:rPr>
                        <a:t>内容</a:t>
                      </a:r>
                      <a:endParaRPr kumimoji="1" lang="ja-JP" altLang="en-US" sz="1400" b="1" dirty="0">
                        <a:latin typeface="メイリオ" pitchFamily="50" charset="-128"/>
                        <a:ea typeface="メイリオ" pitchFamily="50" charset="-128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b="1" dirty="0" smtClean="0">
                          <a:latin typeface="メイリオ" pitchFamily="50" charset="-128"/>
                          <a:ea typeface="メイリオ" pitchFamily="50" charset="-128"/>
                        </a:rPr>
                        <a:t>補足</a:t>
                      </a:r>
                      <a:endParaRPr kumimoji="1" lang="ja-JP" altLang="en-US" sz="1400" b="1" dirty="0">
                        <a:latin typeface="メイリオ" pitchFamily="50" charset="-128"/>
                        <a:ea typeface="メイリオ" pitchFamily="50" charset="-128"/>
                      </a:endParaRPr>
                    </a:p>
                  </a:txBody>
                  <a:tcPr marL="126692" marR="126692" marT="68641" marB="68641"/>
                </a:tc>
              </a:tr>
              <a:tr h="532228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400" dirty="0" smtClean="0">
                          <a:latin typeface="メイリオ" pitchFamily="50" charset="-128"/>
                          <a:ea typeface="メイリオ" pitchFamily="50" charset="-128"/>
                        </a:rPr>
                        <a:t>開催頻度 </a:t>
                      </a:r>
                      <a:endParaRPr kumimoji="1" lang="ja-JP" altLang="en-US" sz="1400" dirty="0">
                        <a:latin typeface="メイリオ" pitchFamily="50" charset="-128"/>
                        <a:ea typeface="メイリオ" pitchFamily="50" charset="-128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400" dirty="0" smtClean="0">
                          <a:latin typeface="メイリオ" pitchFamily="50" charset="-128"/>
                          <a:ea typeface="メイリオ" pitchFamily="50" charset="-128"/>
                        </a:rPr>
                        <a:t>年に</a:t>
                      </a:r>
                      <a:r>
                        <a:rPr kumimoji="1" lang="en-US" altLang="ja-JP" sz="1400" dirty="0" smtClean="0">
                          <a:latin typeface="メイリオ" pitchFamily="50" charset="-128"/>
                          <a:ea typeface="メイリオ" pitchFamily="50" charset="-128"/>
                        </a:rPr>
                        <a:t>1</a:t>
                      </a:r>
                      <a:r>
                        <a:rPr kumimoji="1" lang="ja-JP" altLang="en-US" sz="1400" dirty="0" smtClean="0">
                          <a:latin typeface="メイリオ" pitchFamily="50" charset="-128"/>
                          <a:ea typeface="メイリオ" pitchFamily="50" charset="-128"/>
                        </a:rPr>
                        <a:t>度開催する。</a:t>
                      </a:r>
                      <a:endParaRPr kumimoji="1" lang="ja-JP" altLang="en-US" sz="1400" dirty="0">
                        <a:latin typeface="メイリオ" pitchFamily="50" charset="-128"/>
                        <a:ea typeface="メイリオ" pitchFamily="50" charset="-128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400" dirty="0" smtClean="0">
                          <a:latin typeface="メイリオ" pitchFamily="50" charset="-128"/>
                          <a:ea typeface="メイリオ" pitchFamily="50" charset="-128"/>
                        </a:rPr>
                        <a:t>ユニット毎に調整する。</a:t>
                      </a:r>
                      <a:endParaRPr kumimoji="1" lang="ja-JP" altLang="en-US" sz="1400" dirty="0">
                        <a:latin typeface="メイリオ" pitchFamily="50" charset="-128"/>
                        <a:ea typeface="メイリオ" pitchFamily="50" charset="-128"/>
                      </a:endParaRPr>
                    </a:p>
                  </a:txBody>
                  <a:tcPr marL="126692" marR="126692" marT="68641" marB="68641"/>
                </a:tc>
              </a:tr>
              <a:tr h="1430295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400" dirty="0" smtClean="0">
                          <a:latin typeface="メイリオ" pitchFamily="50" charset="-128"/>
                          <a:ea typeface="メイリオ" pitchFamily="50" charset="-128"/>
                        </a:rPr>
                        <a:t>ユニット</a:t>
                      </a:r>
                      <a:endParaRPr kumimoji="1" lang="ja-JP" altLang="en-US" sz="1400" dirty="0">
                        <a:latin typeface="メイリオ" pitchFamily="50" charset="-128"/>
                        <a:ea typeface="メイリオ" pitchFamily="50" charset="-128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近隣の国・地域でユニットを構成。</a:t>
                      </a:r>
                      <a:endParaRPr kumimoji="1" lang="en-US" altLang="ja-JP" sz="1400" dirty="0" smtClean="0">
                        <a:solidFill>
                          <a:schemeClr val="tx1"/>
                        </a:solidFill>
                        <a:latin typeface="メイリオ" pitchFamily="50" charset="-128"/>
                        <a:ea typeface="メイリオ" pitchFamily="50" charset="-128"/>
                      </a:endParaRPr>
                    </a:p>
                    <a:p>
                      <a:pPr algn="l"/>
                      <a:endParaRPr kumimoji="1" lang="en-US" altLang="ja-JP" sz="1400" dirty="0" smtClean="0">
                        <a:solidFill>
                          <a:schemeClr val="tx1"/>
                        </a:solidFill>
                        <a:latin typeface="メイリオ" pitchFamily="50" charset="-128"/>
                        <a:ea typeface="メイリオ" pitchFamily="50" charset="-128"/>
                      </a:endParaRPr>
                    </a:p>
                    <a:p>
                      <a:pPr algn="l"/>
                      <a:r>
                        <a:rPr kumimoji="1" lang="en-US" altLang="ja-JP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e.g.</a:t>
                      </a:r>
                    </a:p>
                    <a:p>
                      <a:pPr algn="l"/>
                      <a:r>
                        <a:rPr kumimoji="1" lang="en-US" altLang="ja-JP" sz="1400" b="1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JRLM(Japan</a:t>
                      </a:r>
                      <a:r>
                        <a:rPr kumimoji="1" lang="en-US" altLang="ja-JP" sz="1400" b="1" baseline="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 Regional Leaders Meeting)</a:t>
                      </a:r>
                    </a:p>
                    <a:p>
                      <a:pPr algn="l"/>
                      <a:r>
                        <a:rPr kumimoji="1" lang="ja-JP" altLang="en-US" sz="1400" b="1" baseline="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　</a:t>
                      </a:r>
                      <a:r>
                        <a:rPr kumimoji="1" lang="ja-JP" altLang="en-US" sz="1400" baseline="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→関東、関西、</a:t>
                      </a:r>
                      <a:r>
                        <a:rPr kumimoji="1" lang="ja-JP" altLang="en-US" sz="1400" baseline="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中部、中四国、福岡、大分</a:t>
                      </a:r>
                      <a:endParaRPr kumimoji="1" lang="en-US" altLang="ja-JP" sz="1400" baseline="0" dirty="0" smtClean="0">
                        <a:solidFill>
                          <a:schemeClr val="tx1"/>
                        </a:solidFill>
                        <a:latin typeface="メイリオ" pitchFamily="50" charset="-128"/>
                        <a:ea typeface="メイリオ" pitchFamily="50" charset="-128"/>
                      </a:endParaRPr>
                    </a:p>
                    <a:p>
                      <a:pPr algn="l"/>
                      <a:r>
                        <a:rPr kumimoji="1" lang="ja-JP" altLang="en-US" sz="1400" b="1" baseline="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○</a:t>
                      </a:r>
                      <a:r>
                        <a:rPr kumimoji="1" lang="en-US" altLang="ja-JP" sz="1400" b="1" baseline="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RLM</a:t>
                      </a:r>
                      <a:r>
                        <a:rPr kumimoji="1" lang="ja-JP" altLang="en-US" sz="1400" baseline="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→韓国、台湾、上海、北京</a:t>
                      </a:r>
                      <a:endParaRPr kumimoji="1" lang="en-US" altLang="ja-JP" sz="1400" baseline="0" dirty="0" smtClean="0">
                        <a:solidFill>
                          <a:schemeClr val="tx1"/>
                        </a:solidFill>
                        <a:latin typeface="メイリオ" pitchFamily="50" charset="-128"/>
                        <a:ea typeface="メイリオ" pitchFamily="50" charset="-128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ユニット規模並びにユニット名については検討中。該当チャプターの意見を聞きながら構成していく。</a:t>
                      </a:r>
                      <a:endParaRPr kumimoji="1" lang="ja-JP" altLang="en-US" sz="1400" dirty="0">
                        <a:solidFill>
                          <a:schemeClr val="tx1"/>
                        </a:solidFill>
                        <a:latin typeface="メイリオ" pitchFamily="50" charset="-128"/>
                        <a:ea typeface="メイリオ" pitchFamily="50" charset="-128"/>
                      </a:endParaRPr>
                    </a:p>
                  </a:txBody>
                  <a:tcPr marL="126692" marR="126692" marT="68641" marB="68641"/>
                </a:tc>
              </a:tr>
              <a:tr h="389886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400" dirty="0" smtClean="0">
                          <a:latin typeface="メイリオ" pitchFamily="50" charset="-128"/>
                          <a:ea typeface="メイリオ" pitchFamily="50" charset="-128"/>
                        </a:rPr>
                        <a:t>開催場所</a:t>
                      </a:r>
                      <a:endParaRPr kumimoji="1" lang="ja-JP" altLang="en-US" sz="1400" dirty="0">
                        <a:latin typeface="メイリオ" pitchFamily="50" charset="-128"/>
                        <a:ea typeface="メイリオ" pitchFamily="50" charset="-128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開催場所はユニット毎に</a:t>
                      </a:r>
                      <a:r>
                        <a:rPr kumimoji="1" lang="ja-JP" altLang="en-US" sz="1400" baseline="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決定する。</a:t>
                      </a:r>
                      <a:endParaRPr kumimoji="1" lang="ja-JP" altLang="en-US" sz="1400" dirty="0">
                        <a:solidFill>
                          <a:schemeClr val="tx1"/>
                        </a:solidFill>
                        <a:latin typeface="メイリオ" pitchFamily="50" charset="-128"/>
                        <a:ea typeface="メイリオ" pitchFamily="50" charset="-128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400" dirty="0">
                        <a:solidFill>
                          <a:schemeClr val="tx1"/>
                        </a:solidFill>
                        <a:latin typeface="メイリオ" pitchFamily="50" charset="-128"/>
                        <a:ea typeface="メイリオ" pitchFamily="50" charset="-128"/>
                      </a:endParaRPr>
                    </a:p>
                  </a:txBody>
                  <a:tcPr marL="126692" marR="126692" marT="68641" marB="68641"/>
                </a:tc>
              </a:tr>
              <a:tr h="1363187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400" dirty="0" smtClean="0">
                          <a:latin typeface="メイリオ" pitchFamily="50" charset="-128"/>
                          <a:ea typeface="メイリオ" pitchFamily="50" charset="-128"/>
                        </a:rPr>
                        <a:t>開催形態</a:t>
                      </a:r>
                      <a:endParaRPr kumimoji="1" lang="ja-JP" altLang="en-US" sz="1400" dirty="0">
                        <a:latin typeface="メイリオ" pitchFamily="50" charset="-128"/>
                        <a:ea typeface="メイリオ" pitchFamily="50" charset="-128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・会議はボードが主催する。</a:t>
                      </a:r>
                      <a:endParaRPr kumimoji="1" lang="en-US" altLang="ja-JP" sz="1400" dirty="0" smtClean="0">
                        <a:solidFill>
                          <a:schemeClr val="tx1"/>
                        </a:solidFill>
                        <a:latin typeface="メイリオ" pitchFamily="50" charset="-128"/>
                        <a:ea typeface="メイリオ" pitchFamily="50" charset="-128"/>
                      </a:endParaRPr>
                    </a:p>
                    <a:p>
                      <a:pPr algn="l"/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・議題：</a:t>
                      </a:r>
                      <a:endParaRPr kumimoji="1" lang="en-US" altLang="ja-JP" sz="1400" dirty="0" smtClean="0">
                        <a:solidFill>
                          <a:schemeClr val="tx1"/>
                        </a:solidFill>
                        <a:latin typeface="メイリオ" pitchFamily="50" charset="-128"/>
                        <a:ea typeface="メイリオ" pitchFamily="50" charset="-128"/>
                      </a:endParaRPr>
                    </a:p>
                    <a:p>
                      <a:pPr algn="l"/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　●時間全体の</a:t>
                      </a:r>
                      <a:r>
                        <a:rPr kumimoji="1" lang="en-US" altLang="ja-JP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1/3</a:t>
                      </a:r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をボードから提示。</a:t>
                      </a:r>
                      <a:endParaRPr kumimoji="1" lang="en-US" altLang="ja-JP" sz="1400" dirty="0" smtClean="0">
                        <a:solidFill>
                          <a:schemeClr val="tx1"/>
                        </a:solidFill>
                        <a:latin typeface="メイリオ" pitchFamily="50" charset="-128"/>
                        <a:ea typeface="メイリオ" pitchFamily="50" charset="-128"/>
                      </a:endParaRPr>
                    </a:p>
                    <a:p>
                      <a:pPr algn="l"/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（チャプターマニュアルや予算方針など）</a:t>
                      </a:r>
                      <a:endParaRPr kumimoji="1" lang="en-US" altLang="ja-JP" sz="1400" dirty="0" smtClean="0">
                        <a:solidFill>
                          <a:schemeClr val="tx1"/>
                        </a:solidFill>
                        <a:latin typeface="メイリオ" pitchFamily="50" charset="-128"/>
                        <a:ea typeface="メイリオ" pitchFamily="50" charset="-128"/>
                      </a:endParaRPr>
                    </a:p>
                    <a:p>
                      <a:pPr algn="l"/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　●時間全体の</a:t>
                      </a:r>
                      <a:r>
                        <a:rPr kumimoji="1" lang="en-US" altLang="ja-JP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2/3</a:t>
                      </a:r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はチャプターの意見を聞き設定</a:t>
                      </a:r>
                      <a:endParaRPr kumimoji="1" lang="ja-JP" altLang="en-US" sz="1400" dirty="0">
                        <a:solidFill>
                          <a:schemeClr val="tx1"/>
                        </a:solidFill>
                        <a:latin typeface="メイリオ" pitchFamily="50" charset="-128"/>
                        <a:ea typeface="メイリオ" pitchFamily="50" charset="-128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進行役としてボードから</a:t>
                      </a:r>
                      <a:r>
                        <a:rPr kumimoji="1" lang="en-US" altLang="ja-JP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1</a:t>
                      </a:r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名が出席する。</a:t>
                      </a:r>
                      <a:endParaRPr kumimoji="1" lang="ja-JP" altLang="en-US" sz="1400" dirty="0">
                        <a:solidFill>
                          <a:schemeClr val="tx1"/>
                        </a:solidFill>
                        <a:latin typeface="メイリオ" pitchFamily="50" charset="-128"/>
                        <a:ea typeface="メイリオ" pitchFamily="50" charset="-128"/>
                      </a:endParaRPr>
                    </a:p>
                  </a:txBody>
                  <a:tcPr marL="126692" marR="126692" marT="68641" marB="68641"/>
                </a:tc>
              </a:tr>
              <a:tr h="1188077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400" dirty="0" smtClean="0">
                          <a:latin typeface="メイリオ" pitchFamily="50" charset="-128"/>
                          <a:ea typeface="メイリオ" pitchFamily="50" charset="-128"/>
                        </a:rPr>
                        <a:t>備考</a:t>
                      </a:r>
                      <a:endParaRPr kumimoji="1" lang="ja-JP" altLang="en-US" sz="1400" dirty="0">
                        <a:latin typeface="メイリオ" pitchFamily="50" charset="-128"/>
                        <a:ea typeface="メイリオ" pitchFamily="50" charset="-128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・毎年、</a:t>
                      </a:r>
                      <a:r>
                        <a:rPr kumimoji="1" lang="en-US" altLang="ja-JP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RLM</a:t>
                      </a:r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幹事チャプターを決定。</a:t>
                      </a:r>
                      <a:endParaRPr kumimoji="1" lang="en-US" altLang="ja-JP" sz="1400" dirty="0" smtClean="0">
                        <a:solidFill>
                          <a:schemeClr val="tx1"/>
                        </a:solidFill>
                        <a:latin typeface="メイリオ" pitchFamily="50" charset="-128"/>
                        <a:ea typeface="メイリオ" pitchFamily="50" charset="-128"/>
                      </a:endParaRPr>
                    </a:p>
                    <a:p>
                      <a:pPr algn="l"/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・ボードと幹事チャプターが共同で準備を進める。</a:t>
                      </a:r>
                      <a:endParaRPr kumimoji="1" lang="en-US" altLang="ja-JP" sz="1400" dirty="0" smtClean="0">
                        <a:solidFill>
                          <a:schemeClr val="tx1"/>
                        </a:solidFill>
                        <a:latin typeface="メイリオ" pitchFamily="50" charset="-128"/>
                        <a:ea typeface="メイリオ" pitchFamily="50" charset="-128"/>
                      </a:endParaRPr>
                    </a:p>
                    <a:p>
                      <a:pPr algn="l"/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・幹事チャプターには会議場所の選定などを依頼。</a:t>
                      </a:r>
                      <a:endParaRPr kumimoji="1" lang="en-US" altLang="ja-JP" sz="1400" dirty="0" smtClean="0">
                        <a:solidFill>
                          <a:schemeClr val="tx1"/>
                        </a:solidFill>
                        <a:latin typeface="メイリオ" pitchFamily="50" charset="-128"/>
                        <a:ea typeface="メイリオ" pitchFamily="50" charset="-128"/>
                      </a:endParaRPr>
                    </a:p>
                    <a:p>
                      <a:pPr algn="l"/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・</a:t>
                      </a:r>
                      <a:r>
                        <a:rPr kumimoji="1" lang="en-US" altLang="ja-JP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RLM</a:t>
                      </a:r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開催会場への交通宿泊費は校友会にて負担。</a:t>
                      </a:r>
                      <a:endParaRPr kumimoji="1" lang="ja-JP" altLang="en-US" sz="1400" dirty="0">
                        <a:solidFill>
                          <a:schemeClr val="tx1"/>
                        </a:solidFill>
                        <a:latin typeface="メイリオ" pitchFamily="50" charset="-128"/>
                        <a:ea typeface="メイリオ" pitchFamily="50" charset="-128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RLM</a:t>
                      </a:r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幹事チャプターについて。</a:t>
                      </a:r>
                      <a:endParaRPr kumimoji="1" lang="en-US" altLang="ja-JP" sz="1400" dirty="0" smtClean="0">
                        <a:solidFill>
                          <a:schemeClr val="tx1"/>
                        </a:solidFill>
                        <a:latin typeface="メイリオ" pitchFamily="50" charset="-128"/>
                        <a:ea typeface="メイリオ" pitchFamily="50" charset="-128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→初年度はボードからの指名、</a:t>
                      </a:r>
                      <a:r>
                        <a:rPr kumimoji="1" lang="en-US" altLang="ja-JP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2016</a:t>
                      </a:r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年度以降は</a:t>
                      </a:r>
                      <a:r>
                        <a:rPr kumimoji="1" lang="en-US" altLang="ja-JP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RLM</a:t>
                      </a:r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  <a:latin typeface="メイリオ" pitchFamily="50" charset="-128"/>
                          <a:ea typeface="メイリオ" pitchFamily="50" charset="-128"/>
                        </a:rPr>
                        <a:t>の場で決定。</a:t>
                      </a:r>
                      <a:endParaRPr kumimoji="1" lang="ja-JP" altLang="en-US" sz="1400" dirty="0">
                        <a:solidFill>
                          <a:schemeClr val="tx1"/>
                        </a:solidFill>
                        <a:latin typeface="メイリオ" pitchFamily="50" charset="-128"/>
                        <a:ea typeface="メイリオ" pitchFamily="50" charset="-128"/>
                      </a:endParaRPr>
                    </a:p>
                  </a:txBody>
                  <a:tcPr marL="126692" marR="126692" marT="68641" marB="68641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3282876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DD2E12-AD93-4999-98FE-6DAAE3BEA850}" type="slidenum">
              <a:rPr lang="en-US" altLang="ja-JP" smtClean="0"/>
              <a:pPr>
                <a:defRPr/>
              </a:pPr>
              <a:t>4</a:t>
            </a:fld>
            <a:endParaRPr lang="en-US" altLang="ja-JP" dirty="0"/>
          </a:p>
        </p:txBody>
      </p:sp>
      <p:sp>
        <p:nvSpPr>
          <p:cNvPr id="6" name="タイトル 1"/>
          <p:cNvSpPr txBox="1">
            <a:spLocks/>
          </p:cNvSpPr>
          <p:nvPr/>
        </p:nvSpPr>
        <p:spPr>
          <a:xfrm>
            <a:off x="118697" y="115888"/>
            <a:ext cx="7948246" cy="379412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Meeting Synopsis</a:t>
            </a:r>
            <a:endParaRPr lang="ja-JP" altLang="en-US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10" name="表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6256868"/>
              </p:ext>
            </p:extLst>
          </p:nvPr>
        </p:nvGraphicFramePr>
        <p:xfrm>
          <a:off x="210159" y="620688"/>
          <a:ext cx="8641374" cy="5773231"/>
        </p:xfrm>
        <a:graphic>
          <a:graphicData uri="http://schemas.openxmlformats.org/drawingml/2006/table">
            <a:tbl>
              <a:tblPr firstCol="1" bandRow="1">
                <a:tableStyleId>{21E4AEA4-8DFA-4A89-87EB-49C32662AFE0}</a:tableStyleId>
              </a:tblPr>
              <a:tblGrid>
                <a:gridCol w="1687768"/>
                <a:gridCol w="4185665"/>
                <a:gridCol w="2767941"/>
              </a:tblGrid>
              <a:tr h="457313">
                <a:tc>
                  <a:txBody>
                    <a:bodyPr/>
                    <a:lstStyle/>
                    <a:p>
                      <a:pPr algn="l"/>
                      <a:endParaRPr kumimoji="1" lang="ja-JP" altLang="en-US" sz="1200" dirty="0">
                        <a:latin typeface="Times New Roman" panose="02020603050405020304" pitchFamily="18" charset="0"/>
                        <a:ea typeface="メイリオ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126692" marR="126692" marT="68641" marB="68641">
                    <a:solidFill>
                      <a:schemeClr val="accent3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 b="1" dirty="0" smtClean="0"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Content</a:t>
                      </a:r>
                      <a:endParaRPr kumimoji="1" lang="ja-JP" altLang="en-US" sz="1200" b="1" dirty="0">
                        <a:latin typeface="Times New Roman" panose="02020603050405020304" pitchFamily="18" charset="0"/>
                        <a:ea typeface="メイリオ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 b="1" dirty="0" smtClean="0"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Supplement</a:t>
                      </a:r>
                      <a:endParaRPr kumimoji="1" lang="ja-JP" altLang="en-US" sz="1200" b="1" dirty="0">
                        <a:latin typeface="Times New Roman" panose="02020603050405020304" pitchFamily="18" charset="0"/>
                        <a:ea typeface="メイリオ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126692" marR="126692" marT="68641" marB="68641"/>
                </a:tc>
              </a:tr>
              <a:tr h="532228">
                <a:tc>
                  <a:txBody>
                    <a:bodyPr/>
                    <a:lstStyle/>
                    <a:p>
                      <a:pPr algn="l"/>
                      <a:r>
                        <a:rPr kumimoji="1" lang="en-US" altLang="ja-JP" sz="1200" dirty="0" smtClean="0"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Meeting Frequency</a:t>
                      </a:r>
                      <a:endParaRPr kumimoji="1" lang="ja-JP" altLang="en-US" sz="1200" dirty="0">
                        <a:latin typeface="Times New Roman" panose="02020603050405020304" pitchFamily="18" charset="0"/>
                        <a:ea typeface="メイリオ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r>
                        <a:rPr lang="en-US" altLang="ja-JP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nce a year</a:t>
                      </a:r>
                      <a:endParaRPr lang="ja-JP" alt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r>
                        <a:rPr lang="en-US" altLang="ja-JP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ake</a:t>
                      </a:r>
                      <a:r>
                        <a:rPr lang="en-US" altLang="ja-JP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adjustment in every unit.</a:t>
                      </a:r>
                      <a:endParaRPr lang="ja-JP" alt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6692" marR="126692" marT="68641" marB="68641"/>
                </a:tc>
              </a:tr>
              <a:tr h="1430295">
                <a:tc>
                  <a:txBody>
                    <a:bodyPr/>
                    <a:lstStyle/>
                    <a:p>
                      <a:r>
                        <a:rPr lang="en-US" altLang="ja-JP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nit</a:t>
                      </a:r>
                      <a:endParaRPr lang="ja-JP" alt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r>
                        <a:rPr lang="en-US" altLang="ja-JP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mpose units in regions and neighbor countries.</a:t>
                      </a:r>
                    </a:p>
                    <a:p>
                      <a:r>
                        <a:rPr lang="en-US" altLang="ja-JP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.g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2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JRLM(Japan</a:t>
                      </a:r>
                      <a:r>
                        <a:rPr kumimoji="1" lang="en-US" altLang="ja-JP" sz="120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 Regional Leaders Meeting)</a:t>
                      </a:r>
                    </a:p>
                    <a:p>
                      <a:pPr marL="171450" indent="-171450">
                        <a:buFont typeface="Wingdings"/>
                        <a:buChar char="à"/>
                      </a:pPr>
                      <a:r>
                        <a:rPr lang="en-US" altLang="ja-JP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Kanto, Kansai, </a:t>
                      </a:r>
                      <a:r>
                        <a:rPr lang="en-US" altLang="ja-JP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Chubu, </a:t>
                      </a:r>
                      <a:r>
                        <a:rPr lang="en-US" altLang="ja-JP" sz="12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Chushikoku</a:t>
                      </a:r>
                      <a:r>
                        <a:rPr lang="en-US" altLang="ja-JP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, Fukuoka, Oi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kumimoji="1" lang="ja-JP" altLang="en-US" sz="120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○</a:t>
                      </a:r>
                      <a:r>
                        <a:rPr kumimoji="1" lang="en-US" altLang="ja-JP" sz="120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RLM</a:t>
                      </a:r>
                      <a:r>
                        <a:rPr kumimoji="1" lang="ja-JP" altLang="en-US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→</a:t>
                      </a: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Korea, Taiwan, Shanghai, Beijing</a:t>
                      </a:r>
                    </a:p>
                    <a:p>
                      <a:pPr marL="0" indent="0">
                        <a:buFont typeface="Wingdings"/>
                        <a:buNone/>
                      </a:pPr>
                      <a:r>
                        <a:rPr lang="en-US" altLang="ja-JP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 </a:t>
                      </a:r>
                      <a:endParaRPr lang="ja-JP" alt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r>
                        <a:rPr lang="en-US" altLang="ja-JP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e</a:t>
                      </a:r>
                      <a:r>
                        <a:rPr lang="en-US" altLang="ja-JP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are still considering about </a:t>
                      </a:r>
                      <a:r>
                        <a:rPr lang="en-US" altLang="ja-JP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ming and size of </a:t>
                      </a:r>
                      <a:r>
                        <a:rPr lang="en-US" altLang="ja-JP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ach </a:t>
                      </a:r>
                      <a:r>
                        <a:rPr lang="en-US" altLang="ja-JP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nit. </a:t>
                      </a:r>
                    </a:p>
                    <a:p>
                      <a:r>
                        <a:rPr lang="en-US" altLang="ja-JP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e </a:t>
                      </a:r>
                      <a:r>
                        <a:rPr lang="en-US" altLang="ja-JP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ould take the </a:t>
                      </a:r>
                      <a:r>
                        <a:rPr lang="en-US" altLang="ja-JP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pinions </a:t>
                      </a:r>
                      <a:r>
                        <a:rPr lang="en-US" altLang="ja-JP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rom </a:t>
                      </a:r>
                      <a:r>
                        <a:rPr lang="en-US" altLang="ja-JP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ncerned Chapters </a:t>
                      </a:r>
                      <a:r>
                        <a:rPr lang="en-US" altLang="ja-JP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to consideration and compose the units.   </a:t>
                      </a:r>
                      <a:endParaRPr lang="ja-JP" alt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6692" marR="126692" marT="68641" marB="68641"/>
                </a:tc>
              </a:tr>
              <a:tr h="389886">
                <a:tc>
                  <a:txBody>
                    <a:bodyPr/>
                    <a:lstStyle/>
                    <a:p>
                      <a:r>
                        <a:rPr lang="en-US" altLang="ja-JP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lace</a:t>
                      </a:r>
                      <a:endParaRPr lang="ja-JP" alt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r>
                        <a:rPr lang="en-US" altLang="ja-JP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lace</a:t>
                      </a:r>
                      <a:r>
                        <a:rPr lang="en-US" altLang="ja-JP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would be decided by each Unit. </a:t>
                      </a:r>
                      <a:endParaRPr lang="ja-JP" alt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endParaRPr lang="ja-JP" altLang="en-US" sz="12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6692" marR="126692" marT="68641" marB="68641"/>
                </a:tc>
              </a:tr>
              <a:tr h="1363187">
                <a:tc>
                  <a:txBody>
                    <a:bodyPr/>
                    <a:lstStyle/>
                    <a:p>
                      <a:r>
                        <a:rPr lang="en-US" altLang="ja-JP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ormat</a:t>
                      </a:r>
                      <a:endParaRPr lang="ja-JP" alt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altLang="ja-JP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oard would host the meeting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altLang="ja-JP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opic for discussion: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kumimoji="1" lang="ja-JP" altLang="en-US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   ●</a:t>
                      </a:r>
                      <a:r>
                        <a:rPr kumimoji="1" lang="en-US" altLang="ja-JP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Board</a:t>
                      </a: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 will provide the </a:t>
                      </a: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topics for the </a:t>
                      </a: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1 /</a:t>
                      </a: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3 of the entire meeting time</a:t>
                      </a: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. (Chapter manual or budget policy etc.)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   </a:t>
                      </a:r>
                      <a:r>
                        <a:rPr kumimoji="1" lang="ja-JP" altLang="en-US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●</a:t>
                      </a:r>
                      <a:r>
                        <a:rPr kumimoji="1" lang="en-US" altLang="ja-JP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The rest 2/3 time would be</a:t>
                      </a: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 used for receiving feedbacks from </a:t>
                      </a: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Chapters.</a:t>
                      </a:r>
                      <a:endParaRPr lang="ja-JP" alt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r>
                        <a:rPr lang="en-US" altLang="ja-JP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ne</a:t>
                      </a:r>
                      <a:r>
                        <a:rPr lang="en-US" altLang="ja-JP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person from Board would be at the meeting as the facilitator. </a:t>
                      </a:r>
                      <a:endParaRPr lang="ja-JP" alt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6692" marR="126692" marT="68641" marB="68641"/>
                </a:tc>
              </a:tr>
              <a:tr h="1188077">
                <a:tc>
                  <a:txBody>
                    <a:bodyPr/>
                    <a:lstStyle/>
                    <a:p>
                      <a:r>
                        <a:rPr lang="en-US" altLang="ja-JP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emarks</a:t>
                      </a:r>
                      <a:endParaRPr lang="ja-JP" alt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・</a:t>
                      </a:r>
                      <a:r>
                        <a:rPr kumimoji="1" lang="en-US" altLang="ja-JP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Every year, a RLM</a:t>
                      </a: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hosting chapter </a:t>
                      </a: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would be chosen. </a:t>
                      </a:r>
                      <a:endParaRPr kumimoji="1" lang="en-US" altLang="ja-JP" sz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メイリオ" pitchFamily="50" charset="-128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kumimoji="1" lang="ja-JP" altLang="en-US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・</a:t>
                      </a:r>
                      <a:r>
                        <a:rPr kumimoji="1" lang="en-US" altLang="ja-JP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Board</a:t>
                      </a: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 and </a:t>
                      </a: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hosting chapter </a:t>
                      </a: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would </a:t>
                      </a: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jointly prepare </a:t>
                      </a: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for the </a:t>
                      </a: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meeting.</a:t>
                      </a:r>
                      <a:endParaRPr kumimoji="1" lang="en-US" altLang="ja-JP" sz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メイリオ" pitchFamily="50" charset="-128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kumimoji="1" lang="ja-JP" altLang="en-US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・</a:t>
                      </a:r>
                      <a:r>
                        <a:rPr kumimoji="1" lang="en-US" altLang="ja-JP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Chapter secretary would be in charge of finding</a:t>
                      </a: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 place to hold </a:t>
                      </a: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the meeting</a:t>
                      </a: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.</a:t>
                      </a:r>
                      <a:endParaRPr kumimoji="1" lang="en-US" altLang="ja-JP" sz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メイリオ" pitchFamily="50" charset="-128"/>
                        <a:cs typeface="Times New Roman" panose="02020603050405020304" pitchFamily="18" charset="0"/>
                      </a:endParaRPr>
                    </a:p>
                    <a:p>
                      <a:pPr algn="l"/>
                      <a:r>
                        <a:rPr kumimoji="1" lang="ja-JP" altLang="en-US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・</a:t>
                      </a:r>
                      <a:r>
                        <a:rPr kumimoji="1" lang="en-US" altLang="ja-JP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Alumni Association would be</a:t>
                      </a:r>
                      <a:r>
                        <a:rPr kumimoji="1" lang="en-US" altLang="ja-JP" sz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メイリオ" pitchFamily="50" charset="-128"/>
                          <a:cs typeface="Times New Roman" panose="02020603050405020304" pitchFamily="18" charset="0"/>
                        </a:rPr>
                        <a:t> responsible for the transportation and lodging expense.</a:t>
                      </a:r>
                      <a:endParaRPr kumimoji="1" lang="ja-JP" altLang="en-US" sz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メイリオ" pitchFamily="50" charset="-128"/>
                        <a:cs typeface="Times New Roman" panose="02020603050405020304" pitchFamily="18" charset="0"/>
                      </a:endParaRPr>
                    </a:p>
                    <a:p>
                      <a:endParaRPr lang="ja-JP" alt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6692" marR="126692" marT="68641" marB="68641"/>
                </a:tc>
                <a:tc>
                  <a:txBody>
                    <a:bodyPr/>
                    <a:lstStyle/>
                    <a:p>
                      <a:r>
                        <a:rPr lang="en-US" altLang="ja-JP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bout</a:t>
                      </a:r>
                      <a:r>
                        <a:rPr lang="en-US" altLang="ja-JP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RLM  </a:t>
                      </a:r>
                      <a:r>
                        <a:rPr lang="en-US" altLang="ja-JP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osting chapter</a:t>
                      </a:r>
                      <a:endParaRPr lang="en-US" altLang="ja-JP" sz="1200" baseline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r>
                        <a:rPr lang="en-US" altLang="ja-JP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 The</a:t>
                      </a:r>
                      <a:r>
                        <a:rPr lang="en-US" altLang="ja-JP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 first </a:t>
                      </a:r>
                      <a:r>
                        <a:rPr lang="en-US" altLang="ja-JP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host </a:t>
                      </a:r>
                      <a:r>
                        <a:rPr lang="en-US" altLang="ja-JP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would be assigned by Board, from 2016 </a:t>
                      </a:r>
                      <a:r>
                        <a:rPr lang="en-US" altLang="ja-JP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(fiscal </a:t>
                      </a:r>
                      <a:r>
                        <a:rPr lang="en-US" altLang="ja-JP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year) decision would be made in the RLM meeting. </a:t>
                      </a:r>
                      <a:endParaRPr lang="ja-JP" altLang="en-US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6692" marR="126692" marT="68641" marB="68641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1142684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タイトル 1"/>
          <p:cNvSpPr txBox="1">
            <a:spLocks/>
          </p:cNvSpPr>
          <p:nvPr/>
        </p:nvSpPr>
        <p:spPr>
          <a:xfrm>
            <a:off x="118697" y="115888"/>
            <a:ext cx="7948246" cy="379412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APU</a:t>
            </a:r>
            <a:r>
              <a:rPr lang="ja-JP" altLang="en-US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校友会　ミーティング形式区分</a:t>
            </a:r>
          </a:p>
        </p:txBody>
      </p:sp>
      <p:sp>
        <p:nvSpPr>
          <p:cNvPr id="40" name="正方形/長方形 39"/>
          <p:cNvSpPr/>
          <p:nvPr/>
        </p:nvSpPr>
        <p:spPr>
          <a:xfrm>
            <a:off x="177312" y="692150"/>
            <a:ext cx="8641373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ja-JP" altLang="en-US" sz="20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・従来行っていた</a:t>
            </a:r>
            <a:r>
              <a:rPr lang="en-US" altLang="ja-JP" sz="2000" dirty="0" smtClean="0">
                <a:solidFill>
                  <a:srgbClr val="FF99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hapter </a:t>
            </a:r>
            <a:r>
              <a:rPr lang="en-US" altLang="ja-JP" sz="2000" dirty="0">
                <a:solidFill>
                  <a:srgbClr val="FF99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Leaders Meeting</a:t>
            </a:r>
            <a:r>
              <a:rPr lang="ja-JP" altLang="en-US" sz="2000" dirty="0">
                <a:solidFill>
                  <a:srgbClr val="FF99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（</a:t>
            </a:r>
            <a:r>
              <a:rPr lang="en-US" altLang="ja-JP" sz="2000" dirty="0">
                <a:solidFill>
                  <a:srgbClr val="FF99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LM</a:t>
            </a:r>
            <a:r>
              <a:rPr lang="ja-JP" altLang="en-US" sz="2000" dirty="0" smtClean="0">
                <a:solidFill>
                  <a:srgbClr val="FF99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）</a:t>
            </a:r>
            <a:r>
              <a:rPr lang="ja-JP" altLang="en-US" sz="20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と</a:t>
            </a:r>
            <a:endParaRPr lang="en-US" altLang="ja-JP" sz="2000" b="1" dirty="0" smtClean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ja-JP" altLang="en-US" sz="2000" b="1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　</a:t>
            </a:r>
            <a:r>
              <a:rPr lang="en-US" altLang="ja-JP" sz="2000" dirty="0" smtClean="0">
                <a:solidFill>
                  <a:srgbClr val="FF99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Regional </a:t>
            </a:r>
            <a:r>
              <a:rPr lang="en-US" altLang="ja-JP" sz="2000" dirty="0">
                <a:solidFill>
                  <a:srgbClr val="FF99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Leaders Meeting</a:t>
            </a:r>
            <a:r>
              <a:rPr lang="ja-JP" altLang="en-US" sz="2000" dirty="0">
                <a:solidFill>
                  <a:srgbClr val="FF99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（</a:t>
            </a:r>
            <a:r>
              <a:rPr lang="en-US" altLang="ja-JP" sz="2000" dirty="0">
                <a:solidFill>
                  <a:srgbClr val="FF99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RLM</a:t>
            </a:r>
            <a:r>
              <a:rPr lang="ja-JP" altLang="en-US" sz="2000" dirty="0" smtClean="0">
                <a:solidFill>
                  <a:srgbClr val="FF99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）</a:t>
            </a:r>
            <a:r>
              <a:rPr lang="ja-JP" altLang="en-US" sz="20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の開催単位を図示します。</a:t>
            </a:r>
            <a:endParaRPr lang="ja-JP" altLang="ja-JP" sz="2000" b="1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8196" name="テキスト ボックス 4"/>
          <p:cNvSpPr txBox="1">
            <a:spLocks noChangeArrowheads="1"/>
          </p:cNvSpPr>
          <p:nvPr/>
        </p:nvSpPr>
        <p:spPr bwMode="auto">
          <a:xfrm>
            <a:off x="5408735" y="3892551"/>
            <a:ext cx="356381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ja-JP" altLang="en-US" sz="1800" b="1">
                <a:solidFill>
                  <a:schemeClr val="accent2"/>
                </a:solidFill>
              </a:rPr>
              <a:t>青・・・</a:t>
            </a:r>
            <a:r>
              <a:rPr lang="en-US" altLang="ja-JP" sz="1800" b="1">
                <a:solidFill>
                  <a:schemeClr val="accent2"/>
                </a:solidFill>
              </a:rPr>
              <a:t>CLM  </a:t>
            </a:r>
            <a:r>
              <a:rPr lang="en-US" altLang="ja-JP" sz="1400" b="1">
                <a:solidFill>
                  <a:schemeClr val="accent2"/>
                </a:solidFill>
              </a:rPr>
              <a:t>(Chapter Leaders Meeting)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ja-JP" altLang="en-US" sz="1800" b="1">
                <a:solidFill>
                  <a:srgbClr val="FF0000"/>
                </a:solidFill>
              </a:rPr>
              <a:t>赤・・・</a:t>
            </a:r>
            <a:r>
              <a:rPr lang="en-US" altLang="ja-JP" sz="1800" b="1">
                <a:solidFill>
                  <a:srgbClr val="FF0000"/>
                </a:solidFill>
              </a:rPr>
              <a:t>RLM  </a:t>
            </a:r>
            <a:r>
              <a:rPr lang="en-US" altLang="ja-JP" sz="1400" b="1">
                <a:solidFill>
                  <a:srgbClr val="FF0000"/>
                </a:solidFill>
              </a:rPr>
              <a:t>(Regional Leaders Meeting)</a:t>
            </a:r>
          </a:p>
        </p:txBody>
      </p:sp>
      <p:sp>
        <p:nvSpPr>
          <p:cNvPr id="28" name="正方形/長方形 27"/>
          <p:cNvSpPr/>
          <p:nvPr/>
        </p:nvSpPr>
        <p:spPr>
          <a:xfrm>
            <a:off x="298939" y="4868863"/>
            <a:ext cx="8593015" cy="14589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>
              <a:defRPr/>
            </a:pP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会議の開催頻度</a:t>
            </a:r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・</a:t>
            </a:r>
            <a:r>
              <a:rPr lang="en-US" altLang="ja-JP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LM</a:t>
            </a: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／</a:t>
            </a:r>
            <a:r>
              <a:rPr lang="en-US" altLang="ja-JP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3</a:t>
            </a: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年に</a:t>
            </a:r>
            <a:r>
              <a:rPr lang="en-US" altLang="ja-JP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1</a:t>
            </a: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度を予定</a:t>
            </a:r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・</a:t>
            </a:r>
            <a:r>
              <a:rPr lang="en-US" altLang="ja-JP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RLM</a:t>
            </a: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／毎年の実施を予定</a:t>
            </a:r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LM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の詳細</a:t>
            </a: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については、</a:t>
            </a:r>
            <a:r>
              <a:rPr lang="en-US" altLang="ja-JP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2015</a:t>
            </a: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年度開催の</a:t>
            </a:r>
            <a:r>
              <a:rPr lang="en-US" altLang="ja-JP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RLM</a:t>
            </a:r>
            <a:r>
              <a:rPr lang="ja-JP" altLang="en-US" sz="1600" dirty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の中でチャプターの皆さんと検討していきます。</a:t>
            </a:r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grpSp>
        <p:nvGrpSpPr>
          <p:cNvPr id="8198" name="Group 2"/>
          <p:cNvGrpSpPr>
            <a:grpSpLocks/>
          </p:cNvGrpSpPr>
          <p:nvPr/>
        </p:nvGrpSpPr>
        <p:grpSpPr bwMode="auto">
          <a:xfrm>
            <a:off x="243254" y="2293244"/>
            <a:ext cx="8317523" cy="1332508"/>
            <a:chOff x="263360" y="2292730"/>
            <a:chExt cx="9010119" cy="1333254"/>
          </a:xfrm>
        </p:grpSpPr>
        <p:sp>
          <p:nvSpPr>
            <p:cNvPr id="4" name="角丸四角形 3"/>
            <p:cNvSpPr/>
            <p:nvPr/>
          </p:nvSpPr>
          <p:spPr bwMode="auto">
            <a:xfrm>
              <a:off x="263360" y="2854602"/>
              <a:ext cx="9010119" cy="408852"/>
            </a:xfrm>
            <a:prstGeom prst="roundRect">
              <a:avLst/>
            </a:prstGeom>
            <a:ln>
              <a:prstDash val="sysDash"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>
              <a:spAutoFit/>
            </a:bodyPr>
            <a:lstStyle/>
            <a:p>
              <a:pPr algn="ctr">
                <a:defRPr/>
              </a:pPr>
              <a:endPara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35" name="円/楕円 34"/>
            <p:cNvSpPr/>
            <p:nvPr/>
          </p:nvSpPr>
          <p:spPr bwMode="auto">
            <a:xfrm>
              <a:off x="472898" y="2495538"/>
              <a:ext cx="592103" cy="909373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ja-JP" altLang="en-US" sz="1800" dirty="0" smtClean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関東</a:t>
              </a:r>
              <a:endPara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0" name="円/楕円 9"/>
            <p:cNvSpPr/>
            <p:nvPr/>
          </p:nvSpPr>
          <p:spPr bwMode="auto">
            <a:xfrm>
              <a:off x="1861879" y="2495538"/>
              <a:ext cx="592102" cy="909373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ja-JP" altLang="en-US" sz="1800" dirty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中部</a:t>
              </a:r>
            </a:p>
          </p:txBody>
        </p:sp>
        <p:sp>
          <p:nvSpPr>
            <p:cNvPr id="11" name="円/楕円 10"/>
            <p:cNvSpPr/>
            <p:nvPr/>
          </p:nvSpPr>
          <p:spPr bwMode="auto">
            <a:xfrm>
              <a:off x="1144371" y="2495538"/>
              <a:ext cx="592102" cy="909373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ja-JP" altLang="en-US" sz="1800" dirty="0" smtClean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関西</a:t>
              </a:r>
              <a:endPara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2" name="円/楕円 11"/>
            <p:cNvSpPr/>
            <p:nvPr/>
          </p:nvSpPr>
          <p:spPr bwMode="auto">
            <a:xfrm>
              <a:off x="2592086" y="2292730"/>
              <a:ext cx="592102" cy="1299104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ja-JP" altLang="en-US" sz="1800" dirty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中四国</a:t>
              </a:r>
            </a:p>
          </p:txBody>
        </p:sp>
        <p:sp>
          <p:nvSpPr>
            <p:cNvPr id="13" name="円/楕円 12"/>
            <p:cNvSpPr/>
            <p:nvPr/>
          </p:nvSpPr>
          <p:spPr bwMode="auto">
            <a:xfrm>
              <a:off x="5727213" y="2326880"/>
              <a:ext cx="592103" cy="1299104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ja-JP" altLang="en-US" sz="1800" dirty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インド</a:t>
              </a:r>
            </a:p>
          </p:txBody>
        </p:sp>
        <p:sp>
          <p:nvSpPr>
            <p:cNvPr id="14" name="円/楕円 13"/>
            <p:cNvSpPr/>
            <p:nvPr/>
          </p:nvSpPr>
          <p:spPr bwMode="auto">
            <a:xfrm>
              <a:off x="4079484" y="2495537"/>
              <a:ext cx="592103" cy="909373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ja-JP" altLang="en-US" sz="1800" dirty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大分</a:t>
              </a:r>
            </a:p>
          </p:txBody>
        </p:sp>
        <p:sp>
          <p:nvSpPr>
            <p:cNvPr id="15" name="円/楕円 14"/>
            <p:cNvSpPr/>
            <p:nvPr/>
          </p:nvSpPr>
          <p:spPr bwMode="auto">
            <a:xfrm>
              <a:off x="3312768" y="2495537"/>
              <a:ext cx="592102" cy="909373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ja-JP" altLang="en-US" sz="1800" dirty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福岡</a:t>
              </a:r>
            </a:p>
          </p:txBody>
        </p:sp>
        <p:sp>
          <p:nvSpPr>
            <p:cNvPr id="16" name="円/楕円 15"/>
            <p:cNvSpPr/>
            <p:nvPr/>
          </p:nvSpPr>
          <p:spPr bwMode="auto">
            <a:xfrm>
              <a:off x="6479644" y="2495537"/>
              <a:ext cx="592103" cy="909373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ja-JP" altLang="en-US" sz="1800" dirty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台湾</a:t>
              </a:r>
            </a:p>
          </p:txBody>
        </p:sp>
        <p:sp>
          <p:nvSpPr>
            <p:cNvPr id="17" name="円/楕円 16"/>
            <p:cNvSpPr/>
            <p:nvPr/>
          </p:nvSpPr>
          <p:spPr bwMode="auto">
            <a:xfrm>
              <a:off x="8527398" y="2495537"/>
              <a:ext cx="592103" cy="909373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ja-JP" altLang="en-US" sz="1800" dirty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上海</a:t>
              </a:r>
            </a:p>
          </p:txBody>
        </p:sp>
        <p:sp>
          <p:nvSpPr>
            <p:cNvPr id="18" name="円/楕円 17"/>
            <p:cNvSpPr/>
            <p:nvPr/>
          </p:nvSpPr>
          <p:spPr bwMode="auto">
            <a:xfrm>
              <a:off x="7870212" y="2495537"/>
              <a:ext cx="592103" cy="909373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ja-JP" altLang="en-US" sz="1800" dirty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北京</a:t>
              </a:r>
            </a:p>
          </p:txBody>
        </p:sp>
        <p:sp>
          <p:nvSpPr>
            <p:cNvPr id="19" name="円/楕円 18"/>
            <p:cNvSpPr/>
            <p:nvPr/>
          </p:nvSpPr>
          <p:spPr bwMode="auto">
            <a:xfrm>
              <a:off x="7197151" y="2501891"/>
              <a:ext cx="592103" cy="909373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ja-JP" altLang="en-US" sz="1800" dirty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韓国</a:t>
              </a:r>
            </a:p>
          </p:txBody>
        </p:sp>
        <p:sp>
          <p:nvSpPr>
            <p:cNvPr id="23" name="角丸四角形 22"/>
            <p:cNvSpPr/>
            <p:nvPr/>
          </p:nvSpPr>
          <p:spPr bwMode="auto">
            <a:xfrm>
              <a:off x="472898" y="2808540"/>
              <a:ext cx="4198691" cy="408852"/>
            </a:xfrm>
            <a:prstGeom prst="roundRect">
              <a:avLst/>
            </a:prstGeom>
            <a:noFill/>
            <a:ln w="38100">
              <a:solidFill>
                <a:srgbClr val="FF0000"/>
              </a:solidFill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>
              <a:spAutoFit/>
            </a:bodyPr>
            <a:lstStyle/>
            <a:p>
              <a:pPr algn="ctr">
                <a:defRPr/>
              </a:pPr>
              <a:endPara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25" name="円/楕円 24"/>
            <p:cNvSpPr/>
            <p:nvPr/>
          </p:nvSpPr>
          <p:spPr bwMode="auto">
            <a:xfrm>
              <a:off x="5184320" y="2781735"/>
              <a:ext cx="147629" cy="519642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endPara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26" name="円/楕円 25"/>
            <p:cNvSpPr/>
            <p:nvPr/>
          </p:nvSpPr>
          <p:spPr bwMode="auto">
            <a:xfrm>
              <a:off x="5470053" y="2781735"/>
              <a:ext cx="147629" cy="519642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endPara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22" name="円/楕円 24"/>
            <p:cNvSpPr/>
            <p:nvPr/>
          </p:nvSpPr>
          <p:spPr bwMode="auto">
            <a:xfrm>
              <a:off x="4906524" y="2781735"/>
              <a:ext cx="149216" cy="519642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endPara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27" name="角丸四角形 22"/>
            <p:cNvSpPr/>
            <p:nvPr/>
          </p:nvSpPr>
          <p:spPr bwMode="auto">
            <a:xfrm>
              <a:off x="6479644" y="2808540"/>
              <a:ext cx="2639857" cy="408852"/>
            </a:xfrm>
            <a:prstGeom prst="roundRect">
              <a:avLst/>
            </a:prstGeom>
            <a:noFill/>
            <a:ln w="38100">
              <a:solidFill>
                <a:srgbClr val="FF0000"/>
              </a:solidFill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>
              <a:spAutoFit/>
            </a:bodyPr>
            <a:lstStyle/>
            <a:p>
              <a:pPr algn="ctr">
                <a:defRPr/>
              </a:pPr>
              <a:endPara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</p:grpSp>
      <p:sp>
        <p:nvSpPr>
          <p:cNvPr id="24" name="角丸四角形 22"/>
          <p:cNvSpPr/>
          <p:nvPr/>
        </p:nvSpPr>
        <p:spPr bwMode="auto">
          <a:xfrm>
            <a:off x="4497998" y="2824184"/>
            <a:ext cx="1335699" cy="408623"/>
          </a:xfrm>
          <a:prstGeom prst="roundRect">
            <a:avLst/>
          </a:prstGeom>
          <a:noFill/>
          <a:ln w="38100">
            <a:solidFill>
              <a:srgbClr val="FF0000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>
              <a:defRPr/>
            </a:pPr>
            <a:endParaRPr lang="ja-JP" altLang="en-US" sz="18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00356702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タイトル 1"/>
          <p:cNvSpPr txBox="1">
            <a:spLocks/>
          </p:cNvSpPr>
          <p:nvPr/>
        </p:nvSpPr>
        <p:spPr>
          <a:xfrm>
            <a:off x="118697" y="115888"/>
            <a:ext cx="7948246" cy="379412"/>
          </a:xfrm>
          <a:prstGeom prst="rect">
            <a:avLst/>
          </a:prstGeom>
        </p:spPr>
        <p:txBody>
          <a:bodyPr/>
          <a:lstStyle>
            <a:lvl1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pitchFamily="34" charset="0"/>
                <a:ea typeface="メイリオ" pitchFamily="50" charset="-128"/>
                <a:cs typeface="Arial" pitchFamily="34" charset="0"/>
              </a:defRPr>
            </a:lvl1pPr>
            <a:lvl2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2pPr>
            <a:lvl3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3pPr>
            <a:lvl4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4pPr>
            <a:lvl5pPr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Arial" charset="0"/>
                <a:ea typeface="メイリオ" pitchFamily="50" charset="-128"/>
                <a:cs typeface="Arial" charset="0"/>
              </a:defRPr>
            </a:lvl5pPr>
            <a:lvl6pPr marL="4572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6pPr>
            <a:lvl7pPr marL="9144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7pPr>
            <a:lvl8pPr marL="13716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8pPr>
            <a:lvl9pPr marL="1828800" algn="l" defTabSz="879475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003399"/>
                </a:solidFill>
                <a:latin typeface="MS UI Gothic" pitchFamily="50" charset="-128"/>
                <a:ea typeface="MS UI Gothic" pitchFamily="50" charset="-128"/>
              </a:defRPr>
            </a:lvl9pPr>
          </a:lstStyle>
          <a:p>
            <a:pPr>
              <a:defRPr/>
            </a:pPr>
            <a:r>
              <a:rPr lang="en-US" altLang="ja-JP" sz="2000" kern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cs typeface="Arial" charset="0"/>
              </a:rPr>
              <a:t>APU Alumni Association  Meeting Format Division  </a:t>
            </a:r>
          </a:p>
          <a:p>
            <a:pPr>
              <a:defRPr/>
            </a:pPr>
            <a:endParaRPr lang="ja-JP" altLang="en-US" sz="2000" kern="0" dirty="0" smtClean="0">
              <a:solidFill>
                <a:schemeClr val="accent6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40" name="正方形/長方形 39"/>
          <p:cNvSpPr/>
          <p:nvPr/>
        </p:nvSpPr>
        <p:spPr>
          <a:xfrm>
            <a:off x="177312" y="692150"/>
            <a:ext cx="8641373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ja-JP" altLang="en-US" sz="20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・</a:t>
            </a:r>
            <a:r>
              <a:rPr lang="en-US" altLang="ja-JP" sz="20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Below is the figure of </a:t>
            </a:r>
            <a:r>
              <a:rPr lang="en-US" altLang="ja-JP" sz="2000" dirty="0" smtClean="0">
                <a:solidFill>
                  <a:srgbClr val="FF99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hapter </a:t>
            </a:r>
            <a:r>
              <a:rPr lang="en-US" altLang="ja-JP" sz="2000" dirty="0">
                <a:solidFill>
                  <a:srgbClr val="FF99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Leaders Meeting</a:t>
            </a:r>
            <a:r>
              <a:rPr lang="ja-JP" altLang="en-US" sz="2000" dirty="0">
                <a:solidFill>
                  <a:srgbClr val="FF99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（</a:t>
            </a:r>
            <a:r>
              <a:rPr lang="en-US" altLang="ja-JP" sz="2000" dirty="0">
                <a:solidFill>
                  <a:srgbClr val="FF99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LM</a:t>
            </a:r>
            <a:r>
              <a:rPr lang="ja-JP" altLang="en-US" sz="2000" dirty="0" smtClean="0">
                <a:solidFill>
                  <a:srgbClr val="FF99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）</a:t>
            </a:r>
            <a:r>
              <a:rPr lang="en-US" altLang="ja-JP" sz="20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and</a:t>
            </a:r>
            <a:endParaRPr lang="en-US" altLang="ja-JP" sz="2000" b="1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ja-JP" altLang="en-US" sz="2000" b="1" dirty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　</a:t>
            </a:r>
            <a:r>
              <a:rPr lang="en-US" altLang="ja-JP" sz="2000" dirty="0">
                <a:solidFill>
                  <a:srgbClr val="FF99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Regional Leaders Meeting</a:t>
            </a:r>
            <a:r>
              <a:rPr lang="ja-JP" altLang="en-US" sz="2000" dirty="0">
                <a:solidFill>
                  <a:srgbClr val="FF99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（</a:t>
            </a:r>
            <a:r>
              <a:rPr lang="en-US" altLang="ja-JP" sz="2000" dirty="0">
                <a:solidFill>
                  <a:srgbClr val="FF99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RLM</a:t>
            </a:r>
            <a:r>
              <a:rPr lang="ja-JP" altLang="en-US" sz="2000" dirty="0" smtClean="0">
                <a:solidFill>
                  <a:srgbClr val="FF99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）</a:t>
            </a:r>
            <a:r>
              <a:rPr lang="en-US" altLang="ja-JP" sz="2000" b="1" dirty="0" smtClean="0">
                <a:solidFill>
                  <a:schemeClr val="accent6">
                    <a:lumMod val="50000"/>
                  </a:schemeClr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’s host units.</a:t>
            </a:r>
            <a:endParaRPr lang="ja-JP" altLang="ja-JP" sz="2000" b="1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endParaRPr lang="ja-JP" altLang="ja-JP" sz="2000" b="1" dirty="0">
              <a:solidFill>
                <a:schemeClr val="accent6">
                  <a:lumMod val="50000"/>
                </a:schemeClr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8196" name="テキスト ボックス 4"/>
          <p:cNvSpPr txBox="1">
            <a:spLocks noChangeArrowheads="1"/>
          </p:cNvSpPr>
          <p:nvPr/>
        </p:nvSpPr>
        <p:spPr bwMode="auto">
          <a:xfrm>
            <a:off x="5408735" y="3892551"/>
            <a:ext cx="356381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1400">
                <a:solidFill>
                  <a:schemeClr val="tx1"/>
                </a:solidFill>
                <a:latin typeface="MS UI Gothic" pitchFamily="50" charset="-128"/>
                <a:ea typeface="MS UI Gothic" pitchFamily="50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ja-JP" sz="1800" b="1" dirty="0" smtClean="0">
                <a:solidFill>
                  <a:schemeClr val="accent2"/>
                </a:solidFill>
              </a:rPr>
              <a:t>Blue</a:t>
            </a:r>
            <a:r>
              <a:rPr lang="ja-JP" altLang="en-US" sz="1800" b="1" dirty="0" smtClean="0">
                <a:solidFill>
                  <a:schemeClr val="accent2"/>
                </a:solidFill>
              </a:rPr>
              <a:t>・</a:t>
            </a:r>
            <a:r>
              <a:rPr lang="ja-JP" altLang="en-US" sz="1800" b="1" dirty="0">
                <a:solidFill>
                  <a:schemeClr val="accent2"/>
                </a:solidFill>
              </a:rPr>
              <a:t>・・</a:t>
            </a:r>
            <a:r>
              <a:rPr lang="en-US" altLang="ja-JP" sz="1800" b="1" dirty="0">
                <a:solidFill>
                  <a:schemeClr val="accent2"/>
                </a:solidFill>
              </a:rPr>
              <a:t>CLM  </a:t>
            </a:r>
            <a:r>
              <a:rPr lang="en-US" altLang="ja-JP" sz="1400" b="1" dirty="0">
                <a:solidFill>
                  <a:schemeClr val="accent2"/>
                </a:solidFill>
              </a:rPr>
              <a:t>(Chapter Leaders Meeting)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ja-JP" sz="1800" b="1" dirty="0" smtClean="0">
                <a:solidFill>
                  <a:srgbClr val="FF0000"/>
                </a:solidFill>
              </a:rPr>
              <a:t>Red</a:t>
            </a:r>
            <a:r>
              <a:rPr lang="ja-JP" altLang="en-US" sz="1800" b="1" dirty="0" smtClean="0">
                <a:solidFill>
                  <a:srgbClr val="FF0000"/>
                </a:solidFill>
              </a:rPr>
              <a:t>・</a:t>
            </a:r>
            <a:r>
              <a:rPr lang="ja-JP" altLang="en-US" sz="1800" b="1" dirty="0">
                <a:solidFill>
                  <a:srgbClr val="FF0000"/>
                </a:solidFill>
              </a:rPr>
              <a:t>・・</a:t>
            </a:r>
            <a:r>
              <a:rPr lang="en-US" altLang="ja-JP" sz="1800" b="1" dirty="0">
                <a:solidFill>
                  <a:srgbClr val="FF0000"/>
                </a:solidFill>
              </a:rPr>
              <a:t>RLM  </a:t>
            </a:r>
            <a:r>
              <a:rPr lang="en-US" altLang="ja-JP" sz="1400" b="1" dirty="0">
                <a:solidFill>
                  <a:srgbClr val="FF0000"/>
                </a:solidFill>
              </a:rPr>
              <a:t>(Regional Leaders Meeting)</a:t>
            </a:r>
          </a:p>
        </p:txBody>
      </p:sp>
      <p:sp>
        <p:nvSpPr>
          <p:cNvPr id="28" name="正方形/長方形 27"/>
          <p:cNvSpPr/>
          <p:nvPr/>
        </p:nvSpPr>
        <p:spPr>
          <a:xfrm>
            <a:off x="298939" y="4868863"/>
            <a:ext cx="8845061" cy="14589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>
              <a:defRPr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Meeting frequency</a:t>
            </a:r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・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LM/ 1 per 3 years (plan)</a:t>
            </a:r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・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RLM/ Every year (plan) </a:t>
            </a:r>
            <a:r>
              <a:rPr lang="ja-JP" altLang="en-US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 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Regarding the details about CLM, we would like to discuss more with 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Chapters</a:t>
            </a:r>
            <a:endParaRPr lang="en-US" altLang="ja-JP" sz="1600" dirty="0" smtClean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  <a:p>
            <a:pPr>
              <a:defRPr/>
            </a:pP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 at the RLM meeting held in 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2015(fiscal </a:t>
            </a:r>
            <a:r>
              <a:rPr lang="en-US" altLang="ja-JP" sz="1600" dirty="0" smtClean="0"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year).</a:t>
            </a:r>
            <a:endParaRPr lang="en-US" altLang="ja-JP" sz="1600" dirty="0"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grpSp>
        <p:nvGrpSpPr>
          <p:cNvPr id="8198" name="Group 2"/>
          <p:cNvGrpSpPr>
            <a:grpSpLocks/>
          </p:cNvGrpSpPr>
          <p:nvPr/>
        </p:nvGrpSpPr>
        <p:grpSpPr bwMode="auto">
          <a:xfrm>
            <a:off x="243254" y="1310489"/>
            <a:ext cx="8317523" cy="3462338"/>
            <a:chOff x="263360" y="1309424"/>
            <a:chExt cx="9010119" cy="3464276"/>
          </a:xfrm>
        </p:grpSpPr>
        <p:sp>
          <p:nvSpPr>
            <p:cNvPr id="4" name="角丸四角形 3"/>
            <p:cNvSpPr/>
            <p:nvPr/>
          </p:nvSpPr>
          <p:spPr bwMode="auto">
            <a:xfrm>
              <a:off x="263360" y="2854602"/>
              <a:ext cx="9010119" cy="408852"/>
            </a:xfrm>
            <a:prstGeom prst="roundRect">
              <a:avLst/>
            </a:prstGeom>
            <a:ln>
              <a:prstDash val="sysDash"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>
              <a:spAutoFit/>
            </a:bodyPr>
            <a:lstStyle/>
            <a:p>
              <a:pPr algn="ctr">
                <a:defRPr/>
              </a:pPr>
              <a:endPara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35" name="円/楕円 34"/>
            <p:cNvSpPr/>
            <p:nvPr/>
          </p:nvSpPr>
          <p:spPr bwMode="auto">
            <a:xfrm>
              <a:off x="472898" y="1910945"/>
              <a:ext cx="592103" cy="207856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en-US" altLang="ja-JP" sz="1800" dirty="0" smtClean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Kanto</a:t>
              </a:r>
              <a:endParaRPr lang="en-US" altLang="ja-JP" sz="18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0" name="円/楕円 9"/>
            <p:cNvSpPr/>
            <p:nvPr/>
          </p:nvSpPr>
          <p:spPr bwMode="auto">
            <a:xfrm>
              <a:off x="1866642" y="1917297"/>
              <a:ext cx="592102" cy="207856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en-US" altLang="ja-JP" dirty="0" smtClean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Chubu</a:t>
              </a:r>
            </a:p>
          </p:txBody>
        </p:sp>
        <p:sp>
          <p:nvSpPr>
            <p:cNvPr id="11" name="円/楕円 10"/>
            <p:cNvSpPr/>
            <p:nvPr/>
          </p:nvSpPr>
          <p:spPr bwMode="auto">
            <a:xfrm>
              <a:off x="1144371" y="1910945"/>
              <a:ext cx="592102" cy="207856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en-US" altLang="ja-JP" sz="1800" dirty="0" smtClean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Kansai</a:t>
              </a:r>
              <a:endParaRPr lang="en-US" altLang="ja-JP" sz="18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2" name="円/楕円 11"/>
            <p:cNvSpPr/>
            <p:nvPr/>
          </p:nvSpPr>
          <p:spPr bwMode="auto">
            <a:xfrm>
              <a:off x="2633359" y="1309424"/>
              <a:ext cx="592102" cy="346427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en-US" altLang="ja-JP" sz="1400" dirty="0" smtClean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Chu –</a:t>
              </a:r>
              <a:r>
                <a:rPr lang="en-US" altLang="ja-JP" sz="1400" dirty="0" err="1" smtClean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Sh</a:t>
              </a:r>
              <a:r>
                <a:rPr lang="en-US" altLang="ja-JP" sz="1400" dirty="0" smtClean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 I k </a:t>
              </a:r>
              <a:r>
                <a:rPr lang="en-US" altLang="ja-JP" sz="1400" dirty="0" err="1" smtClean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oku</a:t>
              </a:r>
              <a:endParaRPr lang="ja-JP" altLang="en-US" sz="14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3" name="円/楕円 12"/>
            <p:cNvSpPr/>
            <p:nvPr/>
          </p:nvSpPr>
          <p:spPr bwMode="auto">
            <a:xfrm>
              <a:off x="5741500" y="1899948"/>
              <a:ext cx="611945" cy="1948655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wrap="square" anchor="ctr">
              <a:spAutoFit/>
            </a:bodyPr>
            <a:lstStyle/>
            <a:p>
              <a:pPr algn="ctr">
                <a:defRPr/>
              </a:pPr>
              <a:r>
                <a:rPr lang="en-US" altLang="ja-JP" sz="1400" dirty="0" smtClean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I </a:t>
              </a:r>
              <a:r>
                <a:rPr lang="en-US" altLang="ja-JP" sz="1400" dirty="0" err="1" smtClean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nd</a:t>
              </a:r>
              <a:r>
                <a:rPr lang="en-US" altLang="ja-JP" sz="1400" dirty="0" smtClean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 I a</a:t>
              </a:r>
            </a:p>
            <a:p>
              <a:pPr algn="ctr">
                <a:defRPr/>
              </a:pPr>
              <a:endParaRPr lang="ja-JP" altLang="en-US" sz="14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4" name="円/楕円 13"/>
            <p:cNvSpPr/>
            <p:nvPr/>
          </p:nvSpPr>
          <p:spPr bwMode="auto">
            <a:xfrm>
              <a:off x="4079484" y="2300672"/>
              <a:ext cx="592103" cy="1299104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en-US" altLang="ja-JP" sz="1800" dirty="0" smtClean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Oita</a:t>
              </a:r>
              <a:endPara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5" name="円/楕円 14"/>
            <p:cNvSpPr/>
            <p:nvPr/>
          </p:nvSpPr>
          <p:spPr bwMode="auto">
            <a:xfrm>
              <a:off x="3312768" y="1521214"/>
              <a:ext cx="592102" cy="2858027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en-US" altLang="ja-JP" dirty="0" smtClean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Fukuoka</a:t>
              </a:r>
              <a:endPara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6" name="円/楕円 15"/>
            <p:cNvSpPr/>
            <p:nvPr/>
          </p:nvSpPr>
          <p:spPr bwMode="auto">
            <a:xfrm>
              <a:off x="6479644" y="1975897"/>
              <a:ext cx="592103" cy="1948655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en-US" altLang="ja-JP" sz="1400" dirty="0" smtClean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T a I wan</a:t>
              </a:r>
              <a:endParaRPr lang="ja-JP" altLang="en-US" sz="14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7" name="円/楕円 16"/>
            <p:cNvSpPr/>
            <p:nvPr/>
          </p:nvSpPr>
          <p:spPr bwMode="auto">
            <a:xfrm>
              <a:off x="8598038" y="1705083"/>
              <a:ext cx="592103" cy="233838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en-US" altLang="ja-JP" sz="1200" dirty="0" smtClean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S h a n g h a  </a:t>
              </a:r>
              <a:r>
                <a:rPr lang="en-US" altLang="ja-JP" dirty="0" err="1" smtClean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i</a:t>
              </a:r>
              <a:endPara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8" name="円/楕円 17"/>
            <p:cNvSpPr/>
            <p:nvPr/>
          </p:nvSpPr>
          <p:spPr bwMode="auto">
            <a:xfrm>
              <a:off x="7870212" y="1975898"/>
              <a:ext cx="592103" cy="1948655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en-US" altLang="ja-JP" sz="1200" dirty="0" smtClean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B e  I   j  I n g</a:t>
              </a:r>
              <a:endParaRPr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9" name="円/楕円 18"/>
            <p:cNvSpPr/>
            <p:nvPr/>
          </p:nvSpPr>
          <p:spPr bwMode="auto">
            <a:xfrm>
              <a:off x="7197151" y="1917296"/>
              <a:ext cx="592103" cy="207856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en-US" altLang="ja-JP" sz="1800" dirty="0" smtClean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Korea</a:t>
              </a:r>
              <a:endPara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23" name="角丸四角形 22"/>
            <p:cNvSpPr/>
            <p:nvPr/>
          </p:nvSpPr>
          <p:spPr bwMode="auto">
            <a:xfrm>
              <a:off x="472898" y="2808540"/>
              <a:ext cx="4198691" cy="408852"/>
            </a:xfrm>
            <a:prstGeom prst="roundRect">
              <a:avLst/>
            </a:prstGeom>
            <a:noFill/>
            <a:ln w="38100">
              <a:solidFill>
                <a:srgbClr val="FF0000"/>
              </a:solidFill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>
              <a:spAutoFit/>
            </a:bodyPr>
            <a:lstStyle/>
            <a:p>
              <a:pPr algn="ctr">
                <a:defRPr/>
              </a:pPr>
              <a:endPara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25" name="円/楕円 24"/>
            <p:cNvSpPr/>
            <p:nvPr/>
          </p:nvSpPr>
          <p:spPr bwMode="auto">
            <a:xfrm>
              <a:off x="5184320" y="2781735"/>
              <a:ext cx="147629" cy="519642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endPara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26" name="円/楕円 25"/>
            <p:cNvSpPr/>
            <p:nvPr/>
          </p:nvSpPr>
          <p:spPr bwMode="auto">
            <a:xfrm>
              <a:off x="5470053" y="2781735"/>
              <a:ext cx="147629" cy="519642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endPara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22" name="円/楕円 24"/>
            <p:cNvSpPr/>
            <p:nvPr/>
          </p:nvSpPr>
          <p:spPr bwMode="auto">
            <a:xfrm>
              <a:off x="4906524" y="2781735"/>
              <a:ext cx="149216" cy="519642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 cap="rnd">
              <a:noFill/>
              <a:miter lim="800000"/>
              <a:headEnd/>
              <a:tailEnd/>
            </a:ln>
          </p:spPr>
          <p:style>
            <a:lnRef idx="0">
              <a:scrgbClr r="0" g="0" b="0"/>
            </a:lnRef>
            <a:fillRef idx="1001">
              <a:schemeClr val="lt1"/>
            </a:fillRef>
            <a:effectRef idx="0">
              <a:scrgbClr r="0" g="0" b="0"/>
            </a:effectRef>
            <a:fontRef idx="major"/>
          </p:style>
          <p:txBody>
            <a:bodyPr anchor="ctr">
              <a:spAutoFit/>
            </a:bodyPr>
            <a:lstStyle/>
            <a:p>
              <a:pPr algn="ctr">
                <a:defRPr/>
              </a:pPr>
              <a:endPara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27" name="角丸四角形 22"/>
            <p:cNvSpPr/>
            <p:nvPr/>
          </p:nvSpPr>
          <p:spPr bwMode="auto">
            <a:xfrm>
              <a:off x="6479644" y="2808540"/>
              <a:ext cx="2639857" cy="408852"/>
            </a:xfrm>
            <a:prstGeom prst="roundRect">
              <a:avLst/>
            </a:prstGeom>
            <a:noFill/>
            <a:ln w="38100">
              <a:solidFill>
                <a:srgbClr val="FF0000"/>
              </a:solidFill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>
              <a:spAutoFit/>
            </a:bodyPr>
            <a:lstStyle/>
            <a:p>
              <a:pPr algn="ctr">
                <a:defRPr/>
              </a:pPr>
              <a:endPara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</p:grpSp>
      <p:sp>
        <p:nvSpPr>
          <p:cNvPr id="24" name="角丸四角形 22"/>
          <p:cNvSpPr/>
          <p:nvPr/>
        </p:nvSpPr>
        <p:spPr bwMode="auto">
          <a:xfrm>
            <a:off x="4497998" y="2824184"/>
            <a:ext cx="1335699" cy="408623"/>
          </a:xfrm>
          <a:prstGeom prst="roundRect">
            <a:avLst/>
          </a:prstGeom>
          <a:noFill/>
          <a:ln w="38100">
            <a:solidFill>
              <a:srgbClr val="FF0000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>
              <a:defRPr/>
            </a:pPr>
            <a:endParaRPr lang="ja-JP" altLang="en-US" sz="18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53399459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FuOMJDk0mXKWLM3XpNIw"/>
</p:tagLst>
</file>

<file path=ppt/theme/theme1.xml><?xml version="1.0" encoding="utf-8"?>
<a:theme xmlns:a="http://schemas.openxmlformats.org/drawingml/2006/main" name="APU Alumni">
  <a:themeElements>
    <a:clrScheme name="3_JJ Division 企画Ｇ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3_JJ Division 企画Ｇ">
      <a:majorFont>
        <a:latin typeface="MS UI Gothic"/>
        <a:ea typeface="MS UI Gothic"/>
        <a:cs typeface=""/>
      </a:majorFont>
      <a:minorFont>
        <a:latin typeface="MS UI Gothic"/>
        <a:ea typeface="MS UI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rnd">
          <a:solidFill>
            <a:schemeClr val="accent6">
              <a:lumMod val="50000"/>
            </a:schemeClr>
          </a:solidFill>
          <a:miter lim="800000"/>
          <a:headEnd/>
          <a:tailEnd/>
        </a:ln>
      </a:spPr>
      <a:bodyPr wrap="square" anchor="ctr">
        <a:spAutoFit/>
      </a:bodyPr>
      <a:lstStyle>
        <a:defPPr>
          <a:defRPr sz="1800" dirty="0">
            <a:latin typeface="メイリオ" panose="020B0604030504040204" pitchFamily="50" charset="-128"/>
            <a:ea typeface="メイリオ" panose="020B0604030504040204" pitchFamily="50" charset="-128"/>
            <a:cs typeface="メイリオ" panose="020B0604030504040204" pitchFamily="50" charset="-128"/>
          </a:defRPr>
        </a:defPPr>
      </a:lstStyle>
    </a:spDef>
    <a:lnDef>
      <a:spPr bwMode="auto">
        <a:noFill/>
        <a:ln w="9525">
          <a:solidFill>
            <a:schemeClr val="tx1"/>
          </a:solidFill>
          <a:miter lim="800000"/>
          <a:headEnd/>
          <a:tailEnd type="none" w="med" len="med"/>
        </a:ln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>
        <a:spAutoFit/>
      </a:bodyPr>
      <a:lstStyle>
        <a:defPPr>
          <a:defRPr sz="1400" dirty="0" smtClean="0">
            <a:latin typeface="MS UI Gothic" pitchFamily="50" charset="-128"/>
            <a:ea typeface="MS UI Gothic" pitchFamily="50" charset="-128"/>
          </a:defRPr>
        </a:defPPr>
      </a:lstStyle>
    </a:txDef>
  </a:objectDefaults>
  <a:extraClrSchemeLst>
    <a:extraClrScheme>
      <a:clrScheme name="3_JJ Division 企画Ｇ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JJ Division 企画Ｇ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JJ Division 企画Ｇ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U校友会活用のメリット141020</Template>
  <TotalTime>1497</TotalTime>
  <Words>843</Words>
  <Application>Microsoft Office PowerPoint</Application>
  <PresentationFormat>画面に合わせる (4:3)</PresentationFormat>
  <Paragraphs>125</Paragraphs>
  <Slides>6</Slides>
  <Notes>1</Notes>
  <HiddenSlides>0</HiddenSlides>
  <MMClips>0</MMClips>
  <ScaleCrop>false</ScaleCrop>
  <HeadingPairs>
    <vt:vector size="6" baseType="variant">
      <vt:variant>
        <vt:lpstr>使用されているフォント</vt:lpstr>
      </vt:variant>
      <vt:variant>
        <vt:i4>9</vt:i4>
      </vt:variant>
      <vt:variant>
        <vt:lpstr>テーマ</vt:lpstr>
      </vt:variant>
      <vt:variant>
        <vt:i4>1</vt:i4>
      </vt:variant>
      <vt:variant>
        <vt:lpstr>スライド タイトル</vt:lpstr>
      </vt:variant>
      <vt:variant>
        <vt:i4>6</vt:i4>
      </vt:variant>
    </vt:vector>
  </HeadingPairs>
  <TitlesOfParts>
    <vt:vector size="16" baseType="lpstr">
      <vt:lpstr>ＭＳ Ｐゴシック</vt:lpstr>
      <vt:lpstr>ＭＳ Ｐ明朝</vt:lpstr>
      <vt:lpstr>MS UI Gothic</vt:lpstr>
      <vt:lpstr>SimHei</vt:lpstr>
      <vt:lpstr>メイリオ</vt:lpstr>
      <vt:lpstr>Arial</vt:lpstr>
      <vt:lpstr>Calibri</vt:lpstr>
      <vt:lpstr>Times New Roman</vt:lpstr>
      <vt:lpstr>Wingdings</vt:lpstr>
      <vt:lpstr>APU Alumni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Manager>Jens Kehm</Manager>
  <Company>Heraeu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Vision of APU Alumni Association</dc:title>
  <dc:creator>Huang, Michelle</dc:creator>
  <cp:lastModifiedBy>篠崎　裕二</cp:lastModifiedBy>
  <cp:revision>87</cp:revision>
  <cp:lastPrinted>2014-12-22T08:21:41Z</cp:lastPrinted>
  <dcterms:created xsi:type="dcterms:W3CDTF">2014-07-24T14:23:56Z</dcterms:created>
  <dcterms:modified xsi:type="dcterms:W3CDTF">2015-01-06T01:46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07</vt:i4>
  </property>
  <property fmtid="{D5CDD505-2E9C-101B-9397-08002B2CF9AE}" pid="3" name="Abschlussdatum">
    <vt:lpwstr>Date</vt:lpwstr>
  </property>
  <property fmtid="{D5CDD505-2E9C-101B-9397-08002B2CF9AE}" pid="4" name="Abteilung">
    <vt:lpwstr>Department</vt:lpwstr>
  </property>
</Properties>
</file>